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15"/>
  </p:notesMasterIdLst>
  <p:handoutMasterIdLst>
    <p:handoutMasterId r:id="rId16"/>
  </p:handoutMasterIdLst>
  <p:sldIdLst>
    <p:sldId id="528" r:id="rId5"/>
    <p:sldId id="3408" r:id="rId6"/>
    <p:sldId id="535" r:id="rId7"/>
    <p:sldId id="3413" r:id="rId8"/>
    <p:sldId id="3414" r:id="rId9"/>
    <p:sldId id="3415" r:id="rId10"/>
    <p:sldId id="3416" r:id="rId11"/>
    <p:sldId id="542" r:id="rId12"/>
    <p:sldId id="3417" r:id="rId13"/>
    <p:sldId id="3418" r:id="rId1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" id="{1DC75F73-E6D6-4559-BEEF-B47DA8BF6A03}">
          <p14:sldIdLst>
            <p14:sldId id="528"/>
            <p14:sldId id="3408"/>
            <p14:sldId id="535"/>
            <p14:sldId id="3413"/>
            <p14:sldId id="3414"/>
            <p14:sldId id="3415"/>
            <p14:sldId id="3416"/>
            <p14:sldId id="542"/>
            <p14:sldId id="3417"/>
            <p14:sldId id="341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F6B958-936C-8469-9454-7DE7C790D06C}" name="Josefine" initials="J" userId="c8fdedc8cc82ebb5" providerId="Windows Live"/>
  <p188:author id="{7F31B2B0-BD84-4DA9-DBB8-0343367C9C1B}" name="Conrad Lisa" initials="CL" userId="S::l.conrad@netze-bw.de::b3517bd2-a51c-4a32-bf55-86699027be98" providerId="AD"/>
  <p188:author id="{A06024F6-C7AF-E05B-4467-DB961BE5EA6E}" name="Martin Rosenthal" initials="MR" userId="S::martin.rosenthal@mutabor.de::938e567e-97c8-40a6-83ea-ccc34c84518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C041"/>
    <a:srgbClr val="322A26"/>
    <a:srgbClr val="FDF3F2"/>
    <a:srgbClr val="FCDDD3"/>
    <a:srgbClr val="FDC2B2"/>
    <a:srgbClr val="FD9E83"/>
    <a:srgbClr val="FE7E58"/>
    <a:srgbClr val="FC6538"/>
    <a:srgbClr val="000099"/>
    <a:srgbClr val="FE8F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27BB46-CEEB-40BD-909B-AFBB0C0AEDB3}" v="4" dt="2023-04-08T06:08:06.2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32" y="111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rad Lisa" userId="b3517bd2-a51c-4a32-bf55-86699027be98" providerId="ADAL" clId="{E427BB46-CEEB-40BD-909B-AFBB0C0AEDB3}"/>
    <pc:docChg chg="custSel modSld modNotesMaster">
      <pc:chgData name="Conrad Lisa" userId="b3517bd2-a51c-4a32-bf55-86699027be98" providerId="ADAL" clId="{E427BB46-CEEB-40BD-909B-AFBB0C0AEDB3}" dt="2023-04-21T08:18:49.165" v="3" actId="207"/>
      <pc:docMkLst>
        <pc:docMk/>
      </pc:docMkLst>
      <pc:sldChg chg="modSp mod">
        <pc:chgData name="Conrad Lisa" userId="b3517bd2-a51c-4a32-bf55-86699027be98" providerId="ADAL" clId="{E427BB46-CEEB-40BD-909B-AFBB0C0AEDB3}" dt="2023-04-21T08:18:49.165" v="3" actId="207"/>
        <pc:sldMkLst>
          <pc:docMk/>
          <pc:sldMk cId="319749515" sldId="3417"/>
        </pc:sldMkLst>
        <pc:picChg chg="mod">
          <ac:chgData name="Conrad Lisa" userId="b3517bd2-a51c-4a32-bf55-86699027be98" providerId="ADAL" clId="{E427BB46-CEEB-40BD-909B-AFBB0C0AEDB3}" dt="2023-04-21T08:18:49.165" v="3" actId="207"/>
          <ac:picMkLst>
            <pc:docMk/>
            <pc:sldMk cId="319749515" sldId="3417"/>
            <ac:picMk id="35" creationId="{2A3C17E5-7294-97AC-DA1A-6CE936B75BA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21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1" name="Grafik 40">
            <a:extLst>
              <a:ext uri="{FF2B5EF4-FFF2-40B4-BE49-F238E27FC236}">
                <a16:creationId xmlns:a16="http://schemas.microsoft.com/office/drawing/2014/main" id="{598B3B17-6A4B-7491-8D21-55A1B55D62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DFD1B8-1D4C-210D-A987-68BD33E4C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4FFF43E-9254-821C-20D4-A713264C1687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B3084FD0-FAE7-642B-2C16-D411823F90A2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4FC709DC-67CD-CD4A-6EF9-33228DD122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49B632AB-F036-B2C7-939F-9053E0503042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3E90575-6A64-259B-DBA6-93A89B13F513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D35F0D13-141E-CA2A-0336-010F10A5E039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BEA57166-D30E-5117-3E3F-6D404E24610F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44CF96C-A745-2042-FCCC-A2114C179E3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ECA7D599-1C11-C804-03D1-228667C1942F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65CE51-F2C1-923C-FF2C-D9BAE7A527A5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CF4A4E37-8C1A-8F8E-6DFF-4B970B31A8F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E5E9F96-2D1C-7AE7-6892-EBE816500962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2179E3E9-D485-F757-CA14-9F84A8E82204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19906D56-DF1A-BF65-9036-1DEA52A69F2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CCC75D36-3BA9-1CD7-C636-0DB2AB7FAF8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2A23317E-56D8-C3CE-3EFA-114BDE97426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66A12DDC-B4F6-8EB4-4FB7-AB90F4E44471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F1746D5-418C-1326-5F93-08B57CD22693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F4C389E7-2585-4115-FC68-8A2A3C40E77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A178E18-7F9B-0DD8-16C6-0AE07D1C924A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84043195-9E58-61FB-77AB-E7AAC398DA47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7935C5D9-112D-411F-52F7-1D2E27ED507F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C8BCB33-CC5F-4FE6-4875-D8A28E139C47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264C9980-1B01-26A7-D1EA-05D68ECCDC24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5A79BF7-B4F6-CDAB-CF53-10ED2B5B0C2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87AC216-3FE3-8370-2B7B-AFA595ADFA11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52DAD762-409F-979F-AC6A-0AE05CEC64A3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27105E42-86CA-A511-3061-B78AA552E4A2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BD815BA5-F412-978C-FD0A-C398F0D531F0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9A68869F-2E3E-1549-D21C-C3641887A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734400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903198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8109A07-6A3E-6E7E-E71E-A48639052359}"/>
              </a:ext>
            </a:extLst>
          </p:cNvPr>
          <p:cNvGrpSpPr/>
          <p:nvPr userDrawn="1"/>
        </p:nvGrpSpPr>
        <p:grpSpPr>
          <a:xfrm>
            <a:off x="8688388" y="3356908"/>
            <a:ext cx="3095625" cy="3091683"/>
            <a:chOff x="3514725" y="852488"/>
            <a:chExt cx="5161597" cy="5155024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29FD97B2-1BEF-B488-7137-655BCB497A23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0BE672D-A241-5FD0-3864-AD43CF3420E2}"/>
                </a:ext>
              </a:extLst>
            </p:cNvPr>
            <p:cNvSpPr/>
            <p:nvPr/>
          </p:nvSpPr>
          <p:spPr>
            <a:xfrm rot="16200000">
              <a:off x="6215063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1ADD0449-1CB3-D4A8-EBBF-E92F99BEACA3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0FFA099D-198F-B77B-3CE7-FA3C03A94E2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4DE632B7-7F32-C2E3-0099-17E27A26748A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E33478DB-11EC-B0DA-2E72-491E594DF6D7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34333B50-4B88-0CA8-55D2-AAD634926173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09AC026E-BE1D-E5D5-F568-957EC0EE6E68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792E977-63A9-8DBF-FBA3-FDA1408EE599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CD72E0C-A6DB-3C68-D783-262DBF2D8BA4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AD8F2BD6-1545-463E-59FB-2CAC3C779F2A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5832F3F5-C872-1564-C38F-B3D1B115F05B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43149D2F-57EC-6347-1988-F6BF9881395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E7979778-9559-FD64-E31F-6393567EACA3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A16CEC3C-E07A-2686-962B-C4687EA7ED3D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C1522198-DE55-FA26-B8B9-1E51D889F3E7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9CDAC3DB-2DA9-4647-AED5-4B53ACBB20F5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81456A5-3DF6-C94C-1726-B1C2CAD69054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9E1ECE2F-164F-36C0-EFD2-0B9D3CB8A5A2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B9670F2A-0A0E-575E-3437-79D7994EA8AB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87F4B766-542B-8024-B1FE-FDD0FF9DB552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CF3A3CEF-AC10-2E4B-E5F4-D54F45675712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4F6530B-0A79-737D-C14A-785DB8BC069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51D6AC9-C866-DEC2-1980-B69CF3B5E032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776DBDD-B5F1-AC38-84CF-15464DCFAFAB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64893AF9-9182-89BA-C05B-3A3E8A80444E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63A0566D-21E0-0991-273A-3AF890133F4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F74430E4-B341-CF6F-4036-220F97A28189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68" name="Grafik 67">
            <a:extLst>
              <a:ext uri="{FF2B5EF4-FFF2-40B4-BE49-F238E27FC236}">
                <a16:creationId xmlns:a16="http://schemas.microsoft.com/office/drawing/2014/main" id="{9D0D49F2-8433-CA32-9782-6D74D50498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2712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8" y="1664804"/>
            <a:ext cx="6408000" cy="1784282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5769292"/>
            <a:ext cx="5400674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3A0A4D8-656B-0BB7-3EC2-373E04EC6E50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150C4D71-E197-DB03-30B5-C53827FBDAFC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36B0F6B1-7161-CA5A-F735-4B67106E5D60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C31079FC-C028-1724-F6B1-525E47A62687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CA8C367F-6C20-42FF-508B-EF6CDA14586C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48A1AED-915C-A507-D5DD-7381DA508C9D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0F68BD-2567-AD96-F537-9E43770F809B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B6D3EB79-D263-0AB1-A1EE-429F2BB14A6E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F83C971-AC20-D23A-CE7F-B79869CA79A4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44972A20-E111-07C5-C1F0-F54F356D494C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F87CD585-288D-EEC8-99F4-FF1F7E8191C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53464A73-2A4B-11D1-C414-9B2E63ADAFF7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64A1628-3D59-38B9-CF6D-8998DC45C60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40D5634-FD7B-AA9E-92C1-FE77FD6D4686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C6EE583-F0CF-60A6-1941-436D1770FBF6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177612D-D979-7ABC-9267-A04827EA4AC5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477B4CC-C9C4-0992-D5BA-BDED7DF4F752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FFFEFE3-19D9-2299-71D4-D9440B294416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3638CC25-9ED3-C5DC-A1CD-61EEFCA82DC3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DA185071-CBA2-D7BC-3093-A1077EF1EBA3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B16C986-D831-E056-356A-3529698613FE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EA2E9B-B5D3-A0A7-6CD1-374232973438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AC2667A0-C78A-51F2-107D-EE22675C3B78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D83E6E36-9E48-058C-2CC5-468EB19DC7F9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64CB8F2-5A98-B504-5E24-2F546D595C4E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AE1125FF-2DD5-6CBD-F5A2-B5FD6FB19DF2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096ABDE0-1ABA-6FDF-F4C0-C0041D99A285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9052CCA6-CB2D-7269-E5CE-6E7AB78C0353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A1CC189C-A2D9-48CE-0C11-4C398AD2BFBA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2" name="Rechteck 41">
            <a:extLst>
              <a:ext uri="{FF2B5EF4-FFF2-40B4-BE49-F238E27FC236}">
                <a16:creationId xmlns:a16="http://schemas.microsoft.com/office/drawing/2014/main" id="{485F726D-D34B-D771-E942-D877E0F7125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rgbClr val="322A26"/>
                </a:solidFill>
              </a:rPr>
              <a:t>Ein Unternehmen der EnBW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8AF3238-B5FB-5E0A-2BC1-4670DFF35B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406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etze BW Guideline für PowerPoint | April 2023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51FC37B-19EB-B648-FFD2-22A87B3373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38475" y="404664"/>
            <a:ext cx="3046157" cy="663276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r"/>
            <a:r>
              <a:rPr lang="de-DE" sz="1100">
                <a:solidFill>
                  <a:srgbClr val="1195EB"/>
                </a:solidFill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968576"/>
            <a:ext cx="3270329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1744" y="3968576"/>
            <a:ext cx="3269518" cy="2052712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92896"/>
            <a:ext cx="6660120" cy="1424248"/>
          </a:xfrm>
        </p:spPr>
        <p:txBody>
          <a:bodyPr anchor="b" anchorCtr="0"/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E00B93F-D8C3-D8E6-FD35-BF7BC76755BB}"/>
              </a:ext>
            </a:extLst>
          </p:cNvPr>
          <p:cNvGrpSpPr/>
          <p:nvPr userDrawn="1"/>
        </p:nvGrpSpPr>
        <p:grpSpPr>
          <a:xfrm>
            <a:off x="7534876" y="1772816"/>
            <a:ext cx="4249755" cy="4243727"/>
            <a:chOff x="3514725" y="852488"/>
            <a:chExt cx="5162347" cy="5155024"/>
          </a:xfrm>
        </p:grpSpPr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id="{5BA5779D-58E2-B38D-4A79-4DF04CC7DC11}"/>
                </a:ext>
              </a:extLst>
            </p:cNvPr>
            <p:cNvSpPr/>
            <p:nvPr/>
          </p:nvSpPr>
          <p:spPr>
            <a:xfrm>
              <a:off x="3514725" y="3551490"/>
              <a:ext cx="2454783" cy="2454783"/>
            </a:xfrm>
            <a:custGeom>
              <a:avLst/>
              <a:gdLst>
                <a:gd name="connsiteX0" fmla="*/ 2454783 w 2454783"/>
                <a:gd name="connsiteY0" fmla="*/ 2454783 h 2454783"/>
                <a:gd name="connsiteX1" fmla="*/ 0 w 2454783"/>
                <a:gd name="connsiteY1" fmla="*/ 0 h 2454783"/>
                <a:gd name="connsiteX2" fmla="*/ 0 w 2454783"/>
                <a:gd name="connsiteY2" fmla="*/ 2454783 h 2454783"/>
                <a:gd name="connsiteX3" fmla="*/ 2454783 w 2454783"/>
                <a:gd name="connsiteY3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54783" h="2454783">
                  <a:moveTo>
                    <a:pt x="2454783" y="2454783"/>
                  </a:moveTo>
                  <a:cubicBezTo>
                    <a:pt x="2454783" y="1098995"/>
                    <a:pt x="1355693" y="0"/>
                    <a:pt x="0" y="0"/>
                  </a:cubicBezTo>
                  <a:lnTo>
                    <a:pt x="0" y="2454783"/>
                  </a:lnTo>
                  <a:lnTo>
                    <a:pt x="2454783" y="2454783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57D79DFF-0A8D-D747-B605-CDE45A2E11F1}"/>
                </a:ext>
              </a:extLst>
            </p:cNvPr>
            <p:cNvSpPr/>
            <p:nvPr/>
          </p:nvSpPr>
          <p:spPr>
            <a:xfrm rot="16200000">
              <a:off x="6222290" y="852487"/>
              <a:ext cx="2454782" cy="2454783"/>
            </a:xfrm>
            <a:custGeom>
              <a:avLst/>
              <a:gdLst>
                <a:gd name="connsiteX0" fmla="*/ 0 w 2454782"/>
                <a:gd name="connsiteY0" fmla="*/ 2454783 h 2454783"/>
                <a:gd name="connsiteX1" fmla="*/ 2454783 w 2454782"/>
                <a:gd name="connsiteY1" fmla="*/ 2454783 h 2454783"/>
                <a:gd name="connsiteX2" fmla="*/ 2454783 w 2454782"/>
                <a:gd name="connsiteY2" fmla="*/ 1227392 h 2454783"/>
                <a:gd name="connsiteX3" fmla="*/ 1227391 w 2454782"/>
                <a:gd name="connsiteY3" fmla="*/ 0 h 2454783"/>
                <a:gd name="connsiteX4" fmla="*/ 0 w 2454782"/>
                <a:gd name="connsiteY4" fmla="*/ 1227392 h 2454783"/>
                <a:gd name="connsiteX5" fmla="*/ 0 w 2454782"/>
                <a:gd name="connsiteY5" fmla="*/ 2454783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4782" h="2454783">
                  <a:moveTo>
                    <a:pt x="0" y="2454783"/>
                  </a:moveTo>
                  <a:lnTo>
                    <a:pt x="2454783" y="2454783"/>
                  </a:lnTo>
                  <a:lnTo>
                    <a:pt x="2454783" y="1227392"/>
                  </a:lnTo>
                  <a:cubicBezTo>
                    <a:pt x="2454783" y="549497"/>
                    <a:pt x="1905286" y="0"/>
                    <a:pt x="1227391" y="0"/>
                  </a:cubicBezTo>
                  <a:cubicBezTo>
                    <a:pt x="549497" y="0"/>
                    <a:pt x="0" y="549497"/>
                    <a:pt x="0" y="1227392"/>
                  </a:cubicBezTo>
                  <a:lnTo>
                    <a:pt x="0" y="2454783"/>
                  </a:ln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F7FC26BC-5213-4645-70D2-89AB55828E38}"/>
                </a:ext>
              </a:extLst>
            </p:cNvPr>
            <p:cNvSpPr/>
            <p:nvPr/>
          </p:nvSpPr>
          <p:spPr>
            <a:xfrm>
              <a:off x="5642229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80D71EEB-37C9-308B-9A0E-EF63A10AEB37}"/>
                </a:ext>
              </a:extLst>
            </p:cNvPr>
            <p:cNvSpPr/>
            <p:nvPr/>
          </p:nvSpPr>
          <p:spPr>
            <a:xfrm>
              <a:off x="5642229" y="1998153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8280A4EB-C0F3-5DFD-F4B4-98997A6F1CDB}"/>
                </a:ext>
              </a:extLst>
            </p:cNvPr>
            <p:cNvSpPr/>
            <p:nvPr/>
          </p:nvSpPr>
          <p:spPr>
            <a:xfrm>
              <a:off x="5151310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B86DEA2E-E3FB-6BFF-687E-55FE1B9BF6DE}"/>
                </a:ext>
              </a:extLst>
            </p:cNvPr>
            <p:cNvSpPr/>
            <p:nvPr/>
          </p:nvSpPr>
          <p:spPr>
            <a:xfrm>
              <a:off x="5151310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4D4D7553-72FD-F9A7-9B60-37031B419654}"/>
                </a:ext>
              </a:extLst>
            </p:cNvPr>
            <p:cNvSpPr/>
            <p:nvPr/>
          </p:nvSpPr>
          <p:spPr>
            <a:xfrm>
              <a:off x="4660296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96785BFE-1306-91B0-4134-CE7C4DEB3C1C}"/>
                </a:ext>
              </a:extLst>
            </p:cNvPr>
            <p:cNvSpPr/>
            <p:nvPr/>
          </p:nvSpPr>
          <p:spPr>
            <a:xfrm>
              <a:off x="4660296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A41477E-0CBD-531A-2397-5109833C4FEA}"/>
                </a:ext>
              </a:extLst>
            </p:cNvPr>
            <p:cNvSpPr/>
            <p:nvPr/>
          </p:nvSpPr>
          <p:spPr>
            <a:xfrm>
              <a:off x="4169378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1C66C413-2F12-E493-7238-C29E4C6B53EE}"/>
                </a:ext>
              </a:extLst>
            </p:cNvPr>
            <p:cNvSpPr/>
            <p:nvPr/>
          </p:nvSpPr>
          <p:spPr>
            <a:xfrm>
              <a:off x="4169378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2C1891C8-50A8-6D3A-7AE7-19752DBA40FE}"/>
                </a:ext>
              </a:extLst>
            </p:cNvPr>
            <p:cNvSpPr/>
            <p:nvPr/>
          </p:nvSpPr>
          <p:spPr>
            <a:xfrm>
              <a:off x="3678364" y="101622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C23D9C0-1A75-00F6-685C-59535CA04939}"/>
                </a:ext>
              </a:extLst>
            </p:cNvPr>
            <p:cNvSpPr/>
            <p:nvPr/>
          </p:nvSpPr>
          <p:spPr>
            <a:xfrm>
              <a:off x="3678364" y="1998058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EE4DAD8-828C-D72F-F8B8-B45FA4F10F14}"/>
                </a:ext>
              </a:extLst>
            </p:cNvPr>
            <p:cNvSpPr/>
            <p:nvPr/>
          </p:nvSpPr>
          <p:spPr>
            <a:xfrm>
              <a:off x="5642229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280198E-22AA-7056-5B5D-4176BB45BED5}"/>
                </a:ext>
              </a:extLst>
            </p:cNvPr>
            <p:cNvSpPr/>
            <p:nvPr/>
          </p:nvSpPr>
          <p:spPr>
            <a:xfrm>
              <a:off x="5642229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E0621B5-8406-EE42-E9E9-EA13A0D7558C}"/>
                </a:ext>
              </a:extLst>
            </p:cNvPr>
            <p:cNvSpPr/>
            <p:nvPr/>
          </p:nvSpPr>
          <p:spPr>
            <a:xfrm>
              <a:off x="5642229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CB0B89-C68A-0EB1-3890-05AB0E81A154}"/>
                </a:ext>
              </a:extLst>
            </p:cNvPr>
            <p:cNvSpPr/>
            <p:nvPr/>
          </p:nvSpPr>
          <p:spPr>
            <a:xfrm>
              <a:off x="5151310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A482D076-4BF0-43AA-D26B-A595C1250E57}"/>
                </a:ext>
              </a:extLst>
            </p:cNvPr>
            <p:cNvSpPr/>
            <p:nvPr/>
          </p:nvSpPr>
          <p:spPr>
            <a:xfrm>
              <a:off x="5151310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ACF49B1B-6B78-6CC8-5859-0FE5F57494D5}"/>
                </a:ext>
              </a:extLst>
            </p:cNvPr>
            <p:cNvSpPr/>
            <p:nvPr/>
          </p:nvSpPr>
          <p:spPr>
            <a:xfrm>
              <a:off x="5151310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315CAAE2-85D9-5B76-4E99-C11D90E09671}"/>
                </a:ext>
              </a:extLst>
            </p:cNvPr>
            <p:cNvSpPr/>
            <p:nvPr/>
          </p:nvSpPr>
          <p:spPr>
            <a:xfrm>
              <a:off x="4660296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9172AB1-49CC-B3B2-0E2D-52FAE1A1134D}"/>
                </a:ext>
              </a:extLst>
            </p:cNvPr>
            <p:cNvSpPr/>
            <p:nvPr/>
          </p:nvSpPr>
          <p:spPr>
            <a:xfrm>
              <a:off x="4660296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45C9356A-2119-1F5C-283C-D3DD4C58CEE6}"/>
                </a:ext>
              </a:extLst>
            </p:cNvPr>
            <p:cNvSpPr/>
            <p:nvPr/>
          </p:nvSpPr>
          <p:spPr>
            <a:xfrm>
              <a:off x="4660296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BF38944F-A658-265B-7129-87BE16D1DA71}"/>
                </a:ext>
              </a:extLst>
            </p:cNvPr>
            <p:cNvSpPr/>
            <p:nvPr/>
          </p:nvSpPr>
          <p:spPr>
            <a:xfrm>
              <a:off x="4169378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74A18C4E-8725-30D9-03BE-7EDC1765BBCB}"/>
                </a:ext>
              </a:extLst>
            </p:cNvPr>
            <p:cNvSpPr/>
            <p:nvPr/>
          </p:nvSpPr>
          <p:spPr>
            <a:xfrm>
              <a:off x="4169378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188F9427-3151-BAAE-F50E-12CB7E797345}"/>
                </a:ext>
              </a:extLst>
            </p:cNvPr>
            <p:cNvSpPr/>
            <p:nvPr/>
          </p:nvSpPr>
          <p:spPr>
            <a:xfrm>
              <a:off x="4169378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05F69E1B-B7A2-31B1-6AC0-7C0F52352D40}"/>
                </a:ext>
              </a:extLst>
            </p:cNvPr>
            <p:cNvSpPr/>
            <p:nvPr/>
          </p:nvSpPr>
          <p:spPr>
            <a:xfrm>
              <a:off x="3678364" y="1507140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34362F0E-3283-0952-C949-FE6B67476F99}"/>
                </a:ext>
              </a:extLst>
            </p:cNvPr>
            <p:cNvSpPr/>
            <p:nvPr/>
          </p:nvSpPr>
          <p:spPr>
            <a:xfrm>
              <a:off x="3678364" y="2489072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C760088-EA8B-0FB1-1416-FF480DAF39B0}"/>
                </a:ext>
              </a:extLst>
            </p:cNvPr>
            <p:cNvSpPr/>
            <p:nvPr/>
          </p:nvSpPr>
          <p:spPr>
            <a:xfrm>
              <a:off x="3678364" y="2979991"/>
              <a:ext cx="163639" cy="16363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64C0D05-10EB-4F42-1D4A-A4B7CCCC8222}"/>
                </a:ext>
              </a:extLst>
            </p:cNvPr>
            <p:cNvSpPr/>
            <p:nvPr/>
          </p:nvSpPr>
          <p:spPr>
            <a:xfrm>
              <a:off x="6221539" y="3552729"/>
              <a:ext cx="2454783" cy="2454783"/>
            </a:xfrm>
            <a:custGeom>
              <a:avLst/>
              <a:gdLst>
                <a:gd name="connsiteX0" fmla="*/ 2454783 w 2454783"/>
                <a:gd name="connsiteY0" fmla="*/ 1227392 h 2454783"/>
                <a:gd name="connsiteX1" fmla="*/ 1227392 w 2454783"/>
                <a:gd name="connsiteY1" fmla="*/ 2454783 h 2454783"/>
                <a:gd name="connsiteX2" fmla="*/ 1 w 2454783"/>
                <a:gd name="connsiteY2" fmla="*/ 1227392 h 2454783"/>
                <a:gd name="connsiteX3" fmla="*/ 1227392 w 2454783"/>
                <a:gd name="connsiteY3" fmla="*/ 0 h 2454783"/>
                <a:gd name="connsiteX4" fmla="*/ 2454783 w 2454783"/>
                <a:gd name="connsiteY4" fmla="*/ 1227392 h 245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4783" h="2454783">
                  <a:moveTo>
                    <a:pt x="2454783" y="1227392"/>
                  </a:moveTo>
                  <a:cubicBezTo>
                    <a:pt x="2454783" y="1905261"/>
                    <a:pt x="1905261" y="2454783"/>
                    <a:pt x="1227392" y="2454783"/>
                  </a:cubicBezTo>
                  <a:cubicBezTo>
                    <a:pt x="549522" y="2454783"/>
                    <a:pt x="1" y="1905261"/>
                    <a:pt x="1" y="1227392"/>
                  </a:cubicBezTo>
                  <a:cubicBezTo>
                    <a:pt x="1" y="549522"/>
                    <a:pt x="549523" y="0"/>
                    <a:pt x="1227392" y="0"/>
                  </a:cubicBezTo>
                  <a:cubicBezTo>
                    <a:pt x="1905262" y="0"/>
                    <a:pt x="2454783" y="549523"/>
                    <a:pt x="2454783" y="1227392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D869A6FC-5520-574A-B316-2C59384AAC5F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chemeClr val="tx1"/>
                </a:solidFill>
              </a:rPr>
              <a:t>Ein Unternehmen der EnBW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A24B211-9DD6-85BC-81A7-D2A284DB45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42499" y="404664"/>
            <a:ext cx="3042133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8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47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1E25BC39-47A6-092D-614D-F8A564A980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2498062"/>
            <a:ext cx="3955275" cy="3955275"/>
          </a:xfrm>
          <a:custGeom>
            <a:avLst/>
            <a:gdLst>
              <a:gd name="connsiteX0" fmla="*/ 3955275 w 3955275"/>
              <a:gd name="connsiteY0" fmla="*/ 0 h 3955275"/>
              <a:gd name="connsiteX1" fmla="*/ 3955275 w 3955275"/>
              <a:gd name="connsiteY1" fmla="*/ 3955275 h 3955275"/>
              <a:gd name="connsiteX2" fmla="*/ 0 w 3955275"/>
              <a:gd name="connsiteY2" fmla="*/ 3955275 h 3955275"/>
              <a:gd name="connsiteX3" fmla="*/ 3955275 w 3955275"/>
              <a:gd name="connsiteY3" fmla="*/ 0 h 395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5275" h="3955275">
                <a:moveTo>
                  <a:pt x="3955275" y="0"/>
                </a:moveTo>
                <a:lnTo>
                  <a:pt x="3955275" y="3955275"/>
                </a:lnTo>
                <a:lnTo>
                  <a:pt x="0" y="3955275"/>
                </a:lnTo>
                <a:cubicBezTo>
                  <a:pt x="0" y="1770759"/>
                  <a:pt x="1770911" y="0"/>
                  <a:pt x="3955275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3C87739-D733-D283-4CEF-A4DC7920AE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43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8199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505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92" name="Bildplatzhalter 91">
            <a:extLst>
              <a:ext uri="{FF2B5EF4-FFF2-40B4-BE49-F238E27FC236}">
                <a16:creationId xmlns:a16="http://schemas.microsoft.com/office/drawing/2014/main" id="{CB26E34B-6C50-933D-5A96-C8046EC474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9" y="404813"/>
            <a:ext cx="3977913" cy="3977915"/>
          </a:xfrm>
          <a:custGeom>
            <a:avLst/>
            <a:gdLst>
              <a:gd name="connsiteX0" fmla="*/ 0 w 3977913"/>
              <a:gd name="connsiteY0" fmla="*/ 0 h 3977915"/>
              <a:gd name="connsiteX1" fmla="*/ 1988956 w 3977913"/>
              <a:gd name="connsiteY1" fmla="*/ 0 h 3977915"/>
              <a:gd name="connsiteX2" fmla="*/ 3977913 w 3977913"/>
              <a:gd name="connsiteY2" fmla="*/ 1988959 h 3977915"/>
              <a:gd name="connsiteX3" fmla="*/ 1988956 w 3977913"/>
              <a:gd name="connsiteY3" fmla="*/ 3977915 h 3977915"/>
              <a:gd name="connsiteX4" fmla="*/ 0 w 3977913"/>
              <a:gd name="connsiteY4" fmla="*/ 3977915 h 3977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7913" h="3977915">
                <a:moveTo>
                  <a:pt x="0" y="0"/>
                </a:moveTo>
                <a:lnTo>
                  <a:pt x="1988956" y="0"/>
                </a:lnTo>
                <a:cubicBezTo>
                  <a:pt x="3087468" y="0"/>
                  <a:pt x="3977913" y="890446"/>
                  <a:pt x="3977913" y="1988959"/>
                </a:cubicBezTo>
                <a:cubicBezTo>
                  <a:pt x="3977913" y="3087469"/>
                  <a:pt x="3087468" y="3977915"/>
                  <a:pt x="1988956" y="3977915"/>
                </a:cubicBezTo>
                <a:lnTo>
                  <a:pt x="0" y="3977915"/>
                </a:ln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24C419AB-CE33-ED15-878C-4964E33591EE}"/>
              </a:ext>
            </a:extLst>
          </p:cNvPr>
          <p:cNvSpPr/>
          <p:nvPr/>
        </p:nvSpPr>
        <p:spPr>
          <a:xfrm flipH="1">
            <a:off x="2425831" y="4511210"/>
            <a:ext cx="1941977" cy="1941977"/>
          </a:xfrm>
          <a:custGeom>
            <a:avLst/>
            <a:gdLst>
              <a:gd name="connsiteX0" fmla="*/ 2454783 w 2454783"/>
              <a:gd name="connsiteY0" fmla="*/ 2454783 h 2454783"/>
              <a:gd name="connsiteX1" fmla="*/ 0 w 2454783"/>
              <a:gd name="connsiteY1" fmla="*/ 0 h 2454783"/>
              <a:gd name="connsiteX2" fmla="*/ 0 w 2454783"/>
              <a:gd name="connsiteY2" fmla="*/ 2454783 h 2454783"/>
              <a:gd name="connsiteX3" fmla="*/ 2454783 w 2454783"/>
              <a:gd name="connsiteY3" fmla="*/ 2454783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783" h="2454783">
                <a:moveTo>
                  <a:pt x="2454783" y="2454783"/>
                </a:moveTo>
                <a:cubicBezTo>
                  <a:pt x="2454783" y="1098995"/>
                  <a:pt x="1355693" y="0"/>
                  <a:pt x="0" y="0"/>
                </a:cubicBezTo>
                <a:lnTo>
                  <a:pt x="0" y="2454783"/>
                </a:lnTo>
                <a:lnTo>
                  <a:pt x="2454783" y="24547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77CBFB3-EEF3-E8E7-CD93-E61F32393D00}"/>
              </a:ext>
            </a:extLst>
          </p:cNvPr>
          <p:cNvGrpSpPr/>
          <p:nvPr/>
        </p:nvGrpSpPr>
        <p:grpSpPr>
          <a:xfrm>
            <a:off x="509675" y="4653720"/>
            <a:ext cx="1683066" cy="1682991"/>
            <a:chOff x="2545959" y="2479024"/>
            <a:chExt cx="1691059" cy="1690984"/>
          </a:xfrm>
        </p:grpSpPr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6FEBD378-F742-7903-6023-03459FD73A53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DB4F71D5-E7A8-2521-9C56-7976B8BF607C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9E65943E-BC0F-67E5-79CD-F6B2FE258ADB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71DDDC4-EB62-1A1D-D5AC-F74BD82DDEDA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C2D355EC-2774-D159-8458-546337C6A063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2F014647-2ED6-80CE-DE59-ED25B67FA9C5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6ACB3B4-5101-08E6-2BC8-0DEBD7597F3C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8F2EF28-976A-D123-949B-85CCB1130D28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CB61CDB8-249E-2B21-7F22-8511F6AA3A68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3C5EC68-6C06-79DF-282E-51B7D46067CE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C333FC2E-149F-4F0E-87DA-C9B6C2A3516A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259EE91D-6D71-484E-538D-1174D93A2CB2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6E401CC5-B7A2-127C-15E9-4563D86DA2C9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0C21A192-EE8E-6B5C-E9F3-6189AA3789DB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51019101-32EF-6874-3E5B-6B93302132CA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3D9F9E9-AD58-8298-6C75-4F9F6B0B5490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1EA5DC3B-8F7F-5B25-3F9C-A4960C9655D8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DC39D72C-99CF-8F18-D460-E6CE47C29837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D582E9B7-EE15-3D7A-4BE9-0FB7F1A6CFC7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84ED4810-F534-DD6B-F432-1CFC93BB4701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30ECD43-BD55-CD9A-C618-7EC00DBFD7A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C2C48551-9331-9343-EA00-6130F124280C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BC71C079-C7EA-4DD5-B31F-F71A12C33A53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8DC724BD-57CE-6D05-9281-372660E6ED3C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BF366906-460F-5F24-49BE-66D9AA5E012D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solidFill>
              <a:srgbClr val="1195E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F6042539-2267-AAE1-61A5-708283B4F0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28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tiefenblau 0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rgbClr val="1195EB"/>
                </a:solidFill>
              </a:rPr>
              <a:t>Ein Unternehmen der EnBW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B684A60F-6CB9-F8F9-9F34-DAE666A035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4" cy="565200"/>
          </a:xfrm>
          <a:prstGeom prst="rect">
            <a:avLst/>
          </a:prstGeom>
        </p:spPr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27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warmgrau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95899" y="2348880"/>
            <a:ext cx="6588113" cy="2700300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-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95899" y="6201308"/>
            <a:ext cx="4536000" cy="288000"/>
          </a:xfrm>
        </p:spPr>
        <p:txBody>
          <a:bodyPr anchor="b" anchorCtr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175972AD-FD90-049F-F161-CC84A11A0747}"/>
              </a:ext>
            </a:extLst>
          </p:cNvPr>
          <p:cNvSpPr/>
          <p:nvPr userDrawn="1"/>
        </p:nvSpPr>
        <p:spPr>
          <a:xfrm rot="5400000" flipH="1">
            <a:off x="407988" y="404813"/>
            <a:ext cx="1848989" cy="1848989"/>
          </a:xfrm>
          <a:custGeom>
            <a:avLst/>
            <a:gdLst>
              <a:gd name="connsiteX0" fmla="*/ 2454783 w 2454783"/>
              <a:gd name="connsiteY0" fmla="*/ 1227392 h 2454783"/>
              <a:gd name="connsiteX1" fmla="*/ 1227392 w 2454783"/>
              <a:gd name="connsiteY1" fmla="*/ 2454783 h 2454783"/>
              <a:gd name="connsiteX2" fmla="*/ 1 w 2454783"/>
              <a:gd name="connsiteY2" fmla="*/ 1227392 h 2454783"/>
              <a:gd name="connsiteX3" fmla="*/ 1227392 w 2454783"/>
              <a:gd name="connsiteY3" fmla="*/ 0 h 2454783"/>
              <a:gd name="connsiteX4" fmla="*/ 2454783 w 2454783"/>
              <a:gd name="connsiteY4" fmla="*/ 1227392 h 2454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54783" h="2454783">
                <a:moveTo>
                  <a:pt x="2454783" y="1227392"/>
                </a:moveTo>
                <a:cubicBezTo>
                  <a:pt x="2454783" y="1905261"/>
                  <a:pt x="1905261" y="2454783"/>
                  <a:pt x="1227392" y="2454783"/>
                </a:cubicBezTo>
                <a:cubicBezTo>
                  <a:pt x="549522" y="2454783"/>
                  <a:pt x="1" y="1905261"/>
                  <a:pt x="1" y="1227392"/>
                </a:cubicBezTo>
                <a:cubicBezTo>
                  <a:pt x="1" y="549522"/>
                  <a:pt x="549523" y="0"/>
                  <a:pt x="1227392" y="0"/>
                </a:cubicBezTo>
                <a:cubicBezTo>
                  <a:pt x="1905262" y="0"/>
                  <a:pt x="2454783" y="549523"/>
                  <a:pt x="2454783" y="122739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94A199B4-2CBF-1736-9EB4-D59C0A967DD9}"/>
              </a:ext>
            </a:extLst>
          </p:cNvPr>
          <p:cNvGrpSpPr/>
          <p:nvPr userDrawn="1"/>
        </p:nvGrpSpPr>
        <p:grpSpPr>
          <a:xfrm flipH="1">
            <a:off x="2563002" y="487812"/>
            <a:ext cx="1683066" cy="1682991"/>
            <a:chOff x="2545959" y="2479024"/>
            <a:chExt cx="1691059" cy="1690984"/>
          </a:xfrm>
          <a:solidFill>
            <a:schemeClr val="accent4"/>
          </a:solidFill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3DE869BB-8322-D89E-D95E-EE31569311A9}"/>
                </a:ext>
              </a:extLst>
            </p:cNvPr>
            <p:cNvSpPr/>
            <p:nvPr/>
          </p:nvSpPr>
          <p:spPr>
            <a:xfrm flipH="1">
              <a:off x="254595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4A4A9FDC-0E15-1B7E-BCD0-62732DFE77D3}"/>
                </a:ext>
              </a:extLst>
            </p:cNvPr>
            <p:cNvSpPr/>
            <p:nvPr/>
          </p:nvSpPr>
          <p:spPr>
            <a:xfrm flipH="1">
              <a:off x="2545959" y="325951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B1941CA-4D3D-0595-B8A3-BE587AF2728A}"/>
                </a:ext>
              </a:extLst>
            </p:cNvPr>
            <p:cNvSpPr/>
            <p:nvPr/>
          </p:nvSpPr>
          <p:spPr>
            <a:xfrm flipH="1">
              <a:off x="293616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ECF0C93-03D0-BCA1-C2C5-7518DD7C47EC}"/>
                </a:ext>
              </a:extLst>
            </p:cNvPr>
            <p:cNvSpPr/>
            <p:nvPr/>
          </p:nvSpPr>
          <p:spPr>
            <a:xfrm flipH="1">
              <a:off x="293616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A8F06A02-BF0D-F37A-CE72-CF678672205E}"/>
                </a:ext>
              </a:extLst>
            </p:cNvPr>
            <p:cNvSpPr/>
            <p:nvPr/>
          </p:nvSpPr>
          <p:spPr>
            <a:xfrm flipH="1">
              <a:off x="332645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26CAD32-607F-447D-435B-A554D0FE1CE4}"/>
                </a:ext>
              </a:extLst>
            </p:cNvPr>
            <p:cNvSpPr/>
            <p:nvPr/>
          </p:nvSpPr>
          <p:spPr>
            <a:xfrm flipH="1">
              <a:off x="332645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8381E972-4EA6-45E7-849E-EDF45119DAF4}"/>
                </a:ext>
              </a:extLst>
            </p:cNvPr>
            <p:cNvSpPr/>
            <p:nvPr/>
          </p:nvSpPr>
          <p:spPr>
            <a:xfrm flipH="1">
              <a:off x="3716664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49801EC-3331-0A62-C820-1071C29A2D33}"/>
                </a:ext>
              </a:extLst>
            </p:cNvPr>
            <p:cNvSpPr/>
            <p:nvPr/>
          </p:nvSpPr>
          <p:spPr>
            <a:xfrm flipH="1">
              <a:off x="3716664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23FACC4B-FFC2-ECC9-CCF3-04459FBDECE5}"/>
                </a:ext>
              </a:extLst>
            </p:cNvPr>
            <p:cNvSpPr/>
            <p:nvPr/>
          </p:nvSpPr>
          <p:spPr>
            <a:xfrm flipH="1">
              <a:off x="4106949" y="247902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9381E77-072F-B4CA-F26D-4746ADA536FB}"/>
                </a:ext>
              </a:extLst>
            </p:cNvPr>
            <p:cNvSpPr/>
            <p:nvPr/>
          </p:nvSpPr>
          <p:spPr>
            <a:xfrm flipH="1">
              <a:off x="4106949" y="3259443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7C79F8D-EC80-CEE9-0CC1-A00E07FCFA46}"/>
                </a:ext>
              </a:extLst>
            </p:cNvPr>
            <p:cNvSpPr/>
            <p:nvPr/>
          </p:nvSpPr>
          <p:spPr>
            <a:xfrm flipH="1">
              <a:off x="254595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AC5D24D-F792-7138-070D-40A161AE107C}"/>
                </a:ext>
              </a:extLst>
            </p:cNvPr>
            <p:cNvSpPr/>
            <p:nvPr/>
          </p:nvSpPr>
          <p:spPr>
            <a:xfrm flipH="1">
              <a:off x="254595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B60A2E5E-883D-0E64-4220-5CD4AB73509F}"/>
                </a:ext>
              </a:extLst>
            </p:cNvPr>
            <p:cNvSpPr/>
            <p:nvPr/>
          </p:nvSpPr>
          <p:spPr>
            <a:xfrm flipH="1">
              <a:off x="254595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6E843998-D1F4-81F7-81F6-913C81C13C77}"/>
                </a:ext>
              </a:extLst>
            </p:cNvPr>
            <p:cNvSpPr/>
            <p:nvPr/>
          </p:nvSpPr>
          <p:spPr>
            <a:xfrm flipH="1">
              <a:off x="293616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F1C9602-F81C-7A74-CAEF-A6C2BAB58D16}"/>
                </a:ext>
              </a:extLst>
            </p:cNvPr>
            <p:cNvSpPr/>
            <p:nvPr/>
          </p:nvSpPr>
          <p:spPr>
            <a:xfrm flipH="1">
              <a:off x="293616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4F8B0C56-FCEB-9290-7502-34A4EF5706E5}"/>
                </a:ext>
              </a:extLst>
            </p:cNvPr>
            <p:cNvSpPr/>
            <p:nvPr/>
          </p:nvSpPr>
          <p:spPr>
            <a:xfrm flipH="1">
              <a:off x="293616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39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39" y="126968"/>
                    <a:pt x="163639" y="81820"/>
                  </a:cubicBezTo>
                  <a:cubicBezTo>
                    <a:pt x="163639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982D63A6-6B5A-887B-9072-725544096E86}"/>
                </a:ext>
              </a:extLst>
            </p:cNvPr>
            <p:cNvSpPr/>
            <p:nvPr/>
          </p:nvSpPr>
          <p:spPr>
            <a:xfrm flipH="1">
              <a:off x="332645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5604762D-6B71-EC13-47EC-1DF30E8AE776}"/>
                </a:ext>
              </a:extLst>
            </p:cNvPr>
            <p:cNvSpPr/>
            <p:nvPr/>
          </p:nvSpPr>
          <p:spPr>
            <a:xfrm flipH="1">
              <a:off x="332645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F018F543-1B36-EE1A-54D0-D24D5405CD53}"/>
                </a:ext>
              </a:extLst>
            </p:cNvPr>
            <p:cNvSpPr/>
            <p:nvPr/>
          </p:nvSpPr>
          <p:spPr>
            <a:xfrm flipH="1">
              <a:off x="332645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E3E4927-FBFF-4FB7-49C0-F61F0D68BB2B}"/>
                </a:ext>
              </a:extLst>
            </p:cNvPr>
            <p:cNvSpPr/>
            <p:nvPr/>
          </p:nvSpPr>
          <p:spPr>
            <a:xfrm flipH="1">
              <a:off x="3716664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19444F1F-08D8-0CD0-928B-3FF43D7A1F31}"/>
                </a:ext>
              </a:extLst>
            </p:cNvPr>
            <p:cNvSpPr/>
            <p:nvPr/>
          </p:nvSpPr>
          <p:spPr>
            <a:xfrm flipH="1">
              <a:off x="3716664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3D1A805F-8991-B486-3CE4-F6BFA619F55E}"/>
                </a:ext>
              </a:extLst>
            </p:cNvPr>
            <p:cNvSpPr/>
            <p:nvPr/>
          </p:nvSpPr>
          <p:spPr>
            <a:xfrm flipH="1">
              <a:off x="3716664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046AE7E7-2984-778D-51C5-9574D8821F3B}"/>
                </a:ext>
              </a:extLst>
            </p:cNvPr>
            <p:cNvSpPr/>
            <p:nvPr/>
          </p:nvSpPr>
          <p:spPr>
            <a:xfrm flipH="1">
              <a:off x="4106949" y="2869234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40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40"/>
                    <a:pt x="81820" y="163640"/>
                  </a:cubicBezTo>
                  <a:cubicBezTo>
                    <a:pt x="126968" y="163640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95C423BA-10B1-88F3-52C9-55C47D0E907F}"/>
                </a:ext>
              </a:extLst>
            </p:cNvPr>
            <p:cNvSpPr/>
            <p:nvPr/>
          </p:nvSpPr>
          <p:spPr>
            <a:xfrm flipH="1">
              <a:off x="4106949" y="364972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076F9FB3-BDC1-9836-2CC7-C875CD07126A}"/>
                </a:ext>
              </a:extLst>
            </p:cNvPr>
            <p:cNvSpPr/>
            <p:nvPr/>
          </p:nvSpPr>
          <p:spPr>
            <a:xfrm flipH="1">
              <a:off x="4106949" y="4039939"/>
              <a:ext cx="130069" cy="130069"/>
            </a:xfrm>
            <a:custGeom>
              <a:avLst/>
              <a:gdLst>
                <a:gd name="connsiteX0" fmla="*/ 0 w 163639"/>
                <a:gd name="connsiteY0" fmla="*/ 81820 h 163639"/>
                <a:gd name="connsiteX1" fmla="*/ 81820 w 163639"/>
                <a:gd name="connsiteY1" fmla="*/ 163639 h 163639"/>
                <a:gd name="connsiteX2" fmla="*/ 163640 w 163639"/>
                <a:gd name="connsiteY2" fmla="*/ 81820 h 163639"/>
                <a:gd name="connsiteX3" fmla="*/ 81820 w 163639"/>
                <a:gd name="connsiteY3" fmla="*/ 0 h 163639"/>
                <a:gd name="connsiteX4" fmla="*/ 0 w 163639"/>
                <a:gd name="connsiteY4" fmla="*/ 81820 h 163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639" h="163639">
                  <a:moveTo>
                    <a:pt x="0" y="81820"/>
                  </a:moveTo>
                  <a:cubicBezTo>
                    <a:pt x="0" y="126968"/>
                    <a:pt x="36671" y="163639"/>
                    <a:pt x="81820" y="163639"/>
                  </a:cubicBezTo>
                  <a:cubicBezTo>
                    <a:pt x="126968" y="163639"/>
                    <a:pt x="163640" y="126968"/>
                    <a:pt x="163640" y="81820"/>
                  </a:cubicBezTo>
                  <a:cubicBezTo>
                    <a:pt x="163640" y="36671"/>
                    <a:pt x="126968" y="0"/>
                    <a:pt x="81820" y="0"/>
                  </a:cubicBezTo>
                  <a:cubicBezTo>
                    <a:pt x="36671" y="0"/>
                    <a:pt x="0" y="36671"/>
                    <a:pt x="0" y="81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3" name="Rechteck 62">
            <a:extLst>
              <a:ext uri="{FF2B5EF4-FFF2-40B4-BE49-F238E27FC236}">
                <a16:creationId xmlns:a16="http://schemas.microsoft.com/office/drawing/2014/main" id="{9FA84B90-9026-8017-BB02-3D083C8314F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100">
                <a:solidFill>
                  <a:schemeClr val="tx1"/>
                </a:solidFill>
              </a:rPr>
              <a:t>Ein Unternehmen der EnBW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AD38F1-2C29-011A-4FAB-2E0B10170A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368" y="2505841"/>
            <a:ext cx="3959846" cy="3959844"/>
          </a:xfrm>
          <a:custGeom>
            <a:avLst/>
            <a:gdLst>
              <a:gd name="connsiteX0" fmla="*/ 1979924 w 3959846"/>
              <a:gd name="connsiteY0" fmla="*/ 0 h 3959844"/>
              <a:gd name="connsiteX1" fmla="*/ 3959846 w 3959846"/>
              <a:gd name="connsiteY1" fmla="*/ 1979923 h 3959844"/>
              <a:gd name="connsiteX2" fmla="*/ 3959846 w 3959846"/>
              <a:gd name="connsiteY2" fmla="*/ 3959844 h 3959844"/>
              <a:gd name="connsiteX3" fmla="*/ 0 w 3959846"/>
              <a:gd name="connsiteY3" fmla="*/ 3959844 h 3959844"/>
              <a:gd name="connsiteX4" fmla="*/ 0 w 3959846"/>
              <a:gd name="connsiteY4" fmla="*/ 1979923 h 3959844"/>
              <a:gd name="connsiteX5" fmla="*/ 1979924 w 3959846"/>
              <a:gd name="connsiteY5" fmla="*/ 0 h 3959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9846" h="3959844">
                <a:moveTo>
                  <a:pt x="1979924" y="0"/>
                </a:moveTo>
                <a:cubicBezTo>
                  <a:pt x="3073445" y="0"/>
                  <a:pt x="3959846" y="886401"/>
                  <a:pt x="3959846" y="1979923"/>
                </a:cubicBezTo>
                <a:lnTo>
                  <a:pt x="3959846" y="3959844"/>
                </a:lnTo>
                <a:lnTo>
                  <a:pt x="0" y="3959844"/>
                </a:lnTo>
                <a:lnTo>
                  <a:pt x="0" y="1979923"/>
                </a:lnTo>
                <a:cubicBezTo>
                  <a:pt x="0" y="886401"/>
                  <a:pt x="886402" y="0"/>
                  <a:pt x="1979924" y="0"/>
                </a:cubicBezTo>
                <a:close/>
              </a:path>
            </a:pathLst>
          </a:custGeom>
        </p:spPr>
        <p:txBody>
          <a:bodyPr wrap="square" tIns="720000" rIns="0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CDC6DBA-4F42-B00E-0C5E-1D5BA0655B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88279" y="415528"/>
            <a:ext cx="259573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58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C56D05-96DA-01A7-8933-A5477F02B9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0632" y="419801"/>
            <a:ext cx="1584000" cy="34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332867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Netze BW Guideline für PowerPoint | April 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C873169-D421-ED96-2AB2-906F97D6AC68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200456" y="419762"/>
            <a:ext cx="1584176" cy="34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41" r:id="rId4"/>
    <p:sldLayoutId id="2147483736" r:id="rId5"/>
    <p:sldLayoutId id="2147483742" r:id="rId6"/>
    <p:sldLayoutId id="2147483738" r:id="rId7"/>
    <p:sldLayoutId id="2147483743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5" r:id="rId22"/>
    <p:sldLayoutId id="2147483731" r:id="rId23"/>
    <p:sldLayoutId id="2147483732" r:id="rId24"/>
    <p:sldLayoutId id="2147483733" r:id="rId25"/>
    <p:sldLayoutId id="2147483739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55" userDrawn="1">
          <p15:clr>
            <a:srgbClr val="F26B43"/>
          </p15:clr>
        </p15:guide>
        <p15:guide id="17" orient="horz" pos="4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hyperlink" Target="https://www.figma.com/file/CPRS9AHqmCY4hmVk5QbpbJ/Netze-BW-%7C-Design-Guide-1.0?node-id=155-15432&amp;t=gJhGvQbGiQqpXM1D-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36">
            <a:extLst>
              <a:ext uri="{FF2B5EF4-FFF2-40B4-BE49-F238E27FC236}">
                <a16:creationId xmlns:a16="http://schemas.microsoft.com/office/drawing/2014/main" id="{B7FE3F2D-462B-F472-5888-ED28004758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„</a:t>
            </a:r>
            <a:r>
              <a:rPr lang="de-DE" err="1"/>
              <a:t>How-to-use</a:t>
            </a:r>
            <a:r>
              <a:rPr lang="de-DE"/>
              <a:t>“ Guideline für PowerPoin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Netze BW | April 2023</a:t>
            </a:r>
          </a:p>
        </p:txBody>
      </p:sp>
    </p:spTree>
    <p:extLst>
      <p:ext uri="{BB962C8B-B14F-4D97-AF65-F5344CB8AC3E}">
        <p14:creationId xmlns:p14="http://schemas.microsoft.com/office/powerpoint/2010/main" val="30339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Zum</a:t>
            </a:r>
            <a:r>
              <a:rPr lang="en-US"/>
              <a:t> </a:t>
            </a:r>
            <a:r>
              <a:rPr lang="en-US" err="1"/>
              <a:t>Schluss</a:t>
            </a:r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0</a:t>
            </a:fld>
            <a:endParaRPr lang="de-DE" noProof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0280374-05DA-497E-572B-8D54D3126E8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266164"/>
            <a:ext cx="5688013" cy="3631996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Inhaltsplatzhalter 19">
            <a:extLst>
              <a:ext uri="{FF2B5EF4-FFF2-40B4-BE49-F238E27FC236}">
                <a16:creationId xmlns:a16="http://schemas.microsoft.com/office/drawing/2014/main" id="{84521BFB-AD09-20E3-1E4D-47F7F95D4DF8}"/>
              </a:ext>
            </a:extLst>
          </p:cNvPr>
          <p:cNvSpPr>
            <a:spLocks noGrp="1"/>
          </p:cNvSpPr>
          <p:nvPr/>
        </p:nvSpPr>
        <p:spPr>
          <a:xfrm>
            <a:off x="407989" y="1469034"/>
            <a:ext cx="5399980" cy="44291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/>
              <a:t>Wird immer als Abschluss</a:t>
            </a:r>
            <a:br>
              <a:rPr lang="de-DE"/>
            </a:br>
            <a:r>
              <a:rPr lang="de-DE"/>
              <a:t>einer Präsentation eingestellt.</a:t>
            </a:r>
          </a:p>
          <a:p>
            <a:pPr lvl="2"/>
            <a:r>
              <a:rPr lang="de-DE"/>
              <a:t>„Datum und Uhrzeit“ ist deaktiviert.</a:t>
            </a:r>
          </a:p>
          <a:p>
            <a:pPr lvl="2"/>
            <a:r>
              <a:rPr lang="de-DE"/>
              <a:t>Das Datum (oder Monat mit Jahreszahl)</a:t>
            </a:r>
            <a:br>
              <a:rPr lang="de-DE"/>
            </a:br>
            <a:r>
              <a:rPr lang="de-DE"/>
              <a:t>steht im Fußzeilenplatzhalter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C9C0BD3-84E9-EC45-245A-C59F2D5798E8}"/>
              </a:ext>
            </a:extLst>
          </p:cNvPr>
          <p:cNvSpPr/>
          <p:nvPr/>
        </p:nvSpPr>
        <p:spPr>
          <a:xfrm>
            <a:off x="4512001" y="2261360"/>
            <a:ext cx="1451951" cy="792000"/>
          </a:xfrm>
          <a:prstGeom prst="rect">
            <a:avLst/>
          </a:prstGeom>
          <a:solidFill>
            <a:srgbClr val="00B0F0"/>
          </a:solidFill>
        </p:spPr>
        <p:txBody>
          <a:bodyPr vert="horz" lIns="65317" tIns="32659" rIns="65317" bIns="32659" rtlCol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9520">
              <a:spcAft>
                <a:spcPts val="600"/>
              </a:spcAft>
              <a:buClr>
                <a:schemeClr val="bg2"/>
              </a:buClr>
            </a:pPr>
            <a:r>
              <a:rPr lang="de-DE" sz="1000" b="1">
                <a:solidFill>
                  <a:schemeClr val="bg1"/>
                </a:solidFill>
              </a:rPr>
              <a:t>Registerkarte: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>
                <a:solidFill>
                  <a:schemeClr val="bg1"/>
                </a:solidFill>
              </a:rPr>
              <a:t>Einfügen</a:t>
            </a:r>
          </a:p>
          <a:p>
            <a:pPr defTabSz="829520">
              <a:spcAft>
                <a:spcPts val="600"/>
              </a:spcAft>
              <a:buClr>
                <a:schemeClr val="bg2"/>
              </a:buClr>
            </a:pPr>
            <a:r>
              <a:rPr lang="de-DE" sz="1000" b="1">
                <a:solidFill>
                  <a:schemeClr val="bg1"/>
                </a:solidFill>
              </a:rPr>
              <a:t>Bereich</a:t>
            </a:r>
            <a:r>
              <a:rPr lang="de-DE" sz="1000">
                <a:solidFill>
                  <a:schemeClr val="bg1"/>
                </a:solidFill>
              </a:rPr>
              <a:t>: Text |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>
                <a:solidFill>
                  <a:schemeClr val="bg1"/>
                </a:solidFill>
              </a:rPr>
              <a:t>Kopf- und Fußzeile</a:t>
            </a:r>
          </a:p>
        </p:txBody>
      </p:sp>
    </p:spTree>
    <p:extLst>
      <p:ext uri="{BB962C8B-B14F-4D97-AF65-F5344CB8AC3E}">
        <p14:creationId xmlns:p14="http://schemas.microsoft.com/office/powerpoint/2010/main" val="211340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1CF138B-5251-4DF4-BC6F-B1F931FB2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Fa</a:t>
            </a:r>
            <a:r>
              <a:rPr lang="en-US" err="1">
                <a:solidFill>
                  <a:srgbClr val="322A26"/>
                </a:solidFill>
              </a:rPr>
              <a:t>rb</a:t>
            </a:r>
            <a:r>
              <a:rPr lang="en-US" err="1"/>
              <a:t>en</a:t>
            </a:r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2</a:t>
            </a:fld>
            <a:endParaRPr lang="de-DE" noProof="0"/>
          </a:p>
        </p:txBody>
      </p:sp>
      <p:sp>
        <p:nvSpPr>
          <p:cNvPr id="100" name="Textplatzhalter 30">
            <a:extLst>
              <a:ext uri="{FF2B5EF4-FFF2-40B4-BE49-F238E27FC236}">
                <a16:creationId xmlns:a16="http://schemas.microsoft.com/office/drawing/2014/main" id="{F795CAC7-2082-4622-2C7C-36799991EA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/>
          <a:p>
            <a:r>
              <a:rPr lang="de-DE"/>
              <a:t>Die neue Farbleiste</a:t>
            </a:r>
          </a:p>
        </p:txBody>
      </p:sp>
      <p:sp>
        <p:nvSpPr>
          <p:cNvPr id="101" name="Rectangle 65">
            <a:extLst>
              <a:ext uri="{FF2B5EF4-FFF2-40B4-BE49-F238E27FC236}">
                <a16:creationId xmlns:a16="http://schemas.microsoft.com/office/drawing/2014/main" id="{70E71FD6-6B84-DAF0-317D-AE4288605C1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988" y="5050236"/>
            <a:ext cx="11376025" cy="12235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t" anchorCtr="0"/>
          <a:lstStyle/>
          <a:p>
            <a:r>
              <a:rPr lang="de-DE" sz="1200"/>
              <a:t>Abgestufte Töne werden</a:t>
            </a:r>
            <a:br>
              <a:rPr lang="de-DE" sz="1200"/>
            </a:br>
            <a:r>
              <a:rPr lang="de-DE" sz="1200"/>
              <a:t>automatisch in PowerPoint</a:t>
            </a:r>
            <a:br>
              <a:rPr lang="de-DE" sz="1200"/>
            </a:br>
            <a:r>
              <a:rPr lang="de-DE" sz="1200"/>
              <a:t>erzeugt. Bitte nicht nutzen.</a:t>
            </a:r>
          </a:p>
        </p:txBody>
      </p:sp>
      <p:sp>
        <p:nvSpPr>
          <p:cNvPr id="102" name="Rectangle 65">
            <a:extLst>
              <a:ext uri="{FF2B5EF4-FFF2-40B4-BE49-F238E27FC236}">
                <a16:creationId xmlns:a16="http://schemas.microsoft.com/office/drawing/2014/main" id="{2B077B69-0DD9-8FF2-6772-6F7ACD5479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988" y="4117882"/>
            <a:ext cx="11376026" cy="83911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r>
              <a:rPr lang="de-DE" sz="1200"/>
              <a:t>Corporate Designfarben</a:t>
            </a:r>
          </a:p>
        </p:txBody>
      </p:sp>
      <p:sp>
        <p:nvSpPr>
          <p:cNvPr id="103" name="Rectangle 5">
            <a:extLst>
              <a:ext uri="{FF2B5EF4-FFF2-40B4-BE49-F238E27FC236}">
                <a16:creationId xmlns:a16="http://schemas.microsoft.com/office/drawing/2014/main" id="{DEC967BF-878D-A0E9-1733-4AFBF0EB75F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30245" y="4228617"/>
            <a:ext cx="702462" cy="6526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/>
              <a:t>R</a:t>
            </a:r>
          </a:p>
          <a:p>
            <a:pPr algn="r"/>
            <a:r>
              <a:rPr lang="de-DE" sz="1200"/>
              <a:t>G</a:t>
            </a:r>
          </a:p>
          <a:p>
            <a:pPr algn="r"/>
            <a:r>
              <a:rPr lang="de-DE" sz="1200"/>
              <a:t>B</a:t>
            </a:r>
          </a:p>
        </p:txBody>
      </p:sp>
      <p:sp>
        <p:nvSpPr>
          <p:cNvPr id="104" name="Rectangle 70">
            <a:extLst>
              <a:ext uri="{FF2B5EF4-FFF2-40B4-BE49-F238E27FC236}">
                <a16:creationId xmlns:a16="http://schemas.microsoft.com/office/drawing/2014/main" id="{9142DC0F-C2E3-04D6-02CA-4CDB7A0AE3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4228617"/>
            <a:ext cx="745587" cy="65264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/>
              <a:t>228</a:t>
            </a:r>
            <a:br>
              <a:rPr lang="de-DE" sz="1200"/>
            </a:br>
            <a:r>
              <a:rPr lang="de-DE" sz="1200"/>
              <a:t>218</a:t>
            </a:r>
            <a:br>
              <a:rPr lang="de-DE" sz="1200"/>
            </a:br>
            <a:r>
              <a:rPr lang="de-DE" sz="1200"/>
              <a:t>212</a:t>
            </a:r>
          </a:p>
        </p:txBody>
      </p:sp>
      <p:sp>
        <p:nvSpPr>
          <p:cNvPr id="105" name="Rectangle 71">
            <a:extLst>
              <a:ext uri="{FF2B5EF4-FFF2-40B4-BE49-F238E27FC236}">
                <a16:creationId xmlns:a16="http://schemas.microsoft.com/office/drawing/2014/main" id="{39C4A426-AF07-B267-4B6E-8EF18F9155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7914" y="4228617"/>
            <a:ext cx="745587" cy="65264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132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192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65</a:t>
            </a:r>
          </a:p>
        </p:txBody>
      </p:sp>
      <p:sp>
        <p:nvSpPr>
          <p:cNvPr id="106" name="Rectangle 72">
            <a:extLst>
              <a:ext uri="{FF2B5EF4-FFF2-40B4-BE49-F238E27FC236}">
                <a16:creationId xmlns:a16="http://schemas.microsoft.com/office/drawing/2014/main" id="{83F6D381-4025-A80F-A9A2-1EBC2D3664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4228617"/>
            <a:ext cx="747625" cy="652646"/>
          </a:xfrm>
          <a:prstGeom prst="rect">
            <a:avLst/>
          </a:prstGeom>
          <a:solidFill>
            <a:srgbClr val="5BE3D6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091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227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214</a:t>
            </a:r>
          </a:p>
        </p:txBody>
      </p:sp>
      <p:sp>
        <p:nvSpPr>
          <p:cNvPr id="107" name="Rectangle 73">
            <a:extLst>
              <a:ext uri="{FF2B5EF4-FFF2-40B4-BE49-F238E27FC236}">
                <a16:creationId xmlns:a16="http://schemas.microsoft.com/office/drawing/2014/main" id="{B59E9E4A-D651-281D-624B-2EDCD1622A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7500" y="4228617"/>
            <a:ext cx="745587" cy="65264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017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149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235</a:t>
            </a:r>
          </a:p>
        </p:txBody>
      </p:sp>
      <p:sp>
        <p:nvSpPr>
          <p:cNvPr id="108" name="Rectangle 74">
            <a:extLst>
              <a:ext uri="{FF2B5EF4-FFF2-40B4-BE49-F238E27FC236}">
                <a16:creationId xmlns:a16="http://schemas.microsoft.com/office/drawing/2014/main" id="{3EA2D6FE-ACD3-47AA-D4EC-97DCED6EC2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7230" y="4228617"/>
            <a:ext cx="745587" cy="652646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253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200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58</a:t>
            </a:r>
          </a:p>
        </p:txBody>
      </p:sp>
      <p:sp>
        <p:nvSpPr>
          <p:cNvPr id="109" name="Rectangle 75">
            <a:extLst>
              <a:ext uri="{FF2B5EF4-FFF2-40B4-BE49-F238E27FC236}">
                <a16:creationId xmlns:a16="http://schemas.microsoft.com/office/drawing/2014/main" id="{45799980-9B17-8A4C-9B36-800B2811EA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4930" y="4228617"/>
            <a:ext cx="745587" cy="65264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/>
              <a:t>226</a:t>
            </a:r>
            <a:br>
              <a:rPr lang="de-DE" sz="1200"/>
            </a:br>
            <a:r>
              <a:rPr lang="de-DE" sz="1200"/>
              <a:t>195</a:t>
            </a:r>
            <a:br>
              <a:rPr lang="de-DE" sz="1200"/>
            </a:br>
            <a:r>
              <a:rPr lang="de-DE" sz="1200"/>
              <a:t>154</a:t>
            </a:r>
          </a:p>
        </p:txBody>
      </p:sp>
      <p:sp>
        <p:nvSpPr>
          <p:cNvPr id="110" name="Rectangle 67">
            <a:extLst>
              <a:ext uri="{FF2B5EF4-FFF2-40B4-BE49-F238E27FC236}">
                <a16:creationId xmlns:a16="http://schemas.microsoft.com/office/drawing/2014/main" id="{E25FC782-0FDA-662C-90F3-A9833A79D3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4228617"/>
            <a:ext cx="745587" cy="652646"/>
          </a:xfrm>
          <a:prstGeom prst="rect">
            <a:avLst/>
          </a:prstGeom>
          <a:solidFill>
            <a:schemeClr val="tx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050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42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38</a:t>
            </a:r>
          </a:p>
        </p:txBody>
      </p:sp>
      <p:sp>
        <p:nvSpPr>
          <p:cNvPr id="111" name="Rectangle 68">
            <a:extLst>
              <a:ext uri="{FF2B5EF4-FFF2-40B4-BE49-F238E27FC236}">
                <a16:creationId xmlns:a16="http://schemas.microsoft.com/office/drawing/2014/main" id="{5EFE7D2E-D8B0-042F-9E27-05CE4B4E9A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5067" y="4228617"/>
            <a:ext cx="745587" cy="652646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254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143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17</a:t>
            </a:r>
          </a:p>
        </p:txBody>
      </p:sp>
      <p:sp>
        <p:nvSpPr>
          <p:cNvPr id="112" name="Rectangle 69">
            <a:extLst>
              <a:ext uri="{FF2B5EF4-FFF2-40B4-BE49-F238E27FC236}">
                <a16:creationId xmlns:a16="http://schemas.microsoft.com/office/drawing/2014/main" id="{6A5FD339-5EF5-4E72-CD55-5103EE8F81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93472" y="4228617"/>
            <a:ext cx="745587" cy="65264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chemeClr val="bg1"/>
                </a:solidFill>
              </a:rPr>
              <a:t>000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000</a:t>
            </a:r>
            <a:br>
              <a:rPr lang="de-DE" sz="1200">
                <a:solidFill>
                  <a:schemeClr val="bg1"/>
                </a:solidFill>
              </a:rPr>
            </a:br>
            <a:r>
              <a:rPr lang="de-DE" sz="1200">
                <a:solidFill>
                  <a:schemeClr val="bg1"/>
                </a:solidFill>
              </a:rPr>
              <a:t>153</a:t>
            </a:r>
          </a:p>
        </p:txBody>
      </p:sp>
      <p:sp>
        <p:nvSpPr>
          <p:cNvPr id="113" name="Rectangle 5">
            <a:extLst>
              <a:ext uri="{FF2B5EF4-FFF2-40B4-BE49-F238E27FC236}">
                <a16:creationId xmlns:a16="http://schemas.microsoft.com/office/drawing/2014/main" id="{4E202C1F-09A3-ACBB-2406-FB6884CD3C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14336" y="4228617"/>
            <a:ext cx="745587" cy="65264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/>
              <a:t>255</a:t>
            </a:r>
            <a:br>
              <a:rPr lang="de-DE" sz="1200"/>
            </a:br>
            <a:r>
              <a:rPr lang="de-DE" sz="1200"/>
              <a:t>255</a:t>
            </a:r>
            <a:br>
              <a:rPr lang="de-DE" sz="1200"/>
            </a:br>
            <a:r>
              <a:rPr lang="de-DE" sz="1200"/>
              <a:t>255</a:t>
            </a:r>
          </a:p>
        </p:txBody>
      </p:sp>
      <p:sp>
        <p:nvSpPr>
          <p:cNvPr id="123" name="Rectangle 76">
            <a:extLst>
              <a:ext uri="{FF2B5EF4-FFF2-40B4-BE49-F238E27FC236}">
                <a16:creationId xmlns:a16="http://schemas.microsoft.com/office/drawing/2014/main" id="{3499CD94-EE0C-9856-E880-BCD04559D5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14414" y="5160970"/>
            <a:ext cx="745587" cy="2034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4" name="Rectangle 77">
            <a:extLst>
              <a:ext uri="{FF2B5EF4-FFF2-40B4-BE49-F238E27FC236}">
                <a16:creationId xmlns:a16="http://schemas.microsoft.com/office/drawing/2014/main" id="{0894F607-0C89-2B55-D64E-F3CB869AFC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5160970"/>
            <a:ext cx="745587" cy="20348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5" name="Rectangle 78">
            <a:extLst>
              <a:ext uri="{FF2B5EF4-FFF2-40B4-BE49-F238E27FC236}">
                <a16:creationId xmlns:a16="http://schemas.microsoft.com/office/drawing/2014/main" id="{AA507B05-D9DC-9960-CA20-91175D2B29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3204" y="5160970"/>
            <a:ext cx="745587" cy="20348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6" name="Rectangle 79">
            <a:extLst>
              <a:ext uri="{FF2B5EF4-FFF2-40B4-BE49-F238E27FC236}">
                <a16:creationId xmlns:a16="http://schemas.microsoft.com/office/drawing/2014/main" id="{B44BD4A9-7BC2-2C7A-EAF6-99ECF20D50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713" y="5160970"/>
            <a:ext cx="745587" cy="203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7" name="Rectangle 80">
            <a:extLst>
              <a:ext uri="{FF2B5EF4-FFF2-40B4-BE49-F238E27FC236}">
                <a16:creationId xmlns:a16="http://schemas.microsoft.com/office/drawing/2014/main" id="{F2BB506B-3A7C-CCD9-7D08-FC39C421D5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5160970"/>
            <a:ext cx="745587" cy="203485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8" name="Rectangle 81">
            <a:extLst>
              <a:ext uri="{FF2B5EF4-FFF2-40B4-BE49-F238E27FC236}">
                <a16:creationId xmlns:a16="http://schemas.microsoft.com/office/drawing/2014/main" id="{653E8605-459E-CF96-EB5A-817106F5AD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5801" y="5160970"/>
            <a:ext cx="745587" cy="2034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9" name="Rectangle 82">
            <a:extLst>
              <a:ext uri="{FF2B5EF4-FFF2-40B4-BE49-F238E27FC236}">
                <a16:creationId xmlns:a16="http://schemas.microsoft.com/office/drawing/2014/main" id="{8D5E6FE4-6B63-2A05-D172-E930CBF4D6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5160970"/>
            <a:ext cx="747625" cy="20348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0" name="Rectangle 83">
            <a:extLst>
              <a:ext uri="{FF2B5EF4-FFF2-40B4-BE49-F238E27FC236}">
                <a16:creationId xmlns:a16="http://schemas.microsoft.com/office/drawing/2014/main" id="{8B528D9C-E19A-7FBD-8614-12194D5D22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5462" y="5160970"/>
            <a:ext cx="745587" cy="2034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1" name="Rectangle 84">
            <a:extLst>
              <a:ext uri="{FF2B5EF4-FFF2-40B4-BE49-F238E27FC236}">
                <a16:creationId xmlns:a16="http://schemas.microsoft.com/office/drawing/2014/main" id="{88942396-859B-3E9E-8286-C4959B5B5C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5117" y="5160970"/>
            <a:ext cx="745587" cy="2034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2" name="Rectangle 85">
            <a:extLst>
              <a:ext uri="{FF2B5EF4-FFF2-40B4-BE49-F238E27FC236}">
                <a16:creationId xmlns:a16="http://schemas.microsoft.com/office/drawing/2014/main" id="{8801AD47-2563-766E-0D19-551E773F08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2817" y="5160970"/>
            <a:ext cx="745587" cy="2034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3" name="Rectangle 86">
            <a:extLst>
              <a:ext uri="{FF2B5EF4-FFF2-40B4-BE49-F238E27FC236}">
                <a16:creationId xmlns:a16="http://schemas.microsoft.com/office/drawing/2014/main" id="{417BDC08-B8E5-4EE9-D0DD-5EF90CE2C3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14414" y="5364002"/>
            <a:ext cx="745587" cy="20348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4" name="Rectangle 87">
            <a:extLst>
              <a:ext uri="{FF2B5EF4-FFF2-40B4-BE49-F238E27FC236}">
                <a16:creationId xmlns:a16="http://schemas.microsoft.com/office/drawing/2014/main" id="{BEB2D5BA-D4E6-0EAD-0ED7-34FF8B7CCF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5364002"/>
            <a:ext cx="745587" cy="20348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5" name="Rectangle 88">
            <a:extLst>
              <a:ext uri="{FF2B5EF4-FFF2-40B4-BE49-F238E27FC236}">
                <a16:creationId xmlns:a16="http://schemas.microsoft.com/office/drawing/2014/main" id="{8C993C8B-3AD8-C4FC-BA8E-4CB813EB83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3204" y="5364002"/>
            <a:ext cx="745587" cy="20348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6" name="Rectangle 89">
            <a:extLst>
              <a:ext uri="{FF2B5EF4-FFF2-40B4-BE49-F238E27FC236}">
                <a16:creationId xmlns:a16="http://schemas.microsoft.com/office/drawing/2014/main" id="{DF6D7507-2D42-B45E-3EEA-C1C1D07F79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713" y="5364002"/>
            <a:ext cx="745587" cy="20348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7" name="Rectangle 90">
            <a:extLst>
              <a:ext uri="{FF2B5EF4-FFF2-40B4-BE49-F238E27FC236}">
                <a16:creationId xmlns:a16="http://schemas.microsoft.com/office/drawing/2014/main" id="{374D4406-6238-5AFB-5955-9118F67B22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5364002"/>
            <a:ext cx="745587" cy="20348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8" name="Rectangle 91">
            <a:extLst>
              <a:ext uri="{FF2B5EF4-FFF2-40B4-BE49-F238E27FC236}">
                <a16:creationId xmlns:a16="http://schemas.microsoft.com/office/drawing/2014/main" id="{9A6C0BE3-ABF6-55E5-8CFE-8F8A5D0AF6F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5801" y="5364002"/>
            <a:ext cx="745587" cy="203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9" name="Rectangle 92">
            <a:extLst>
              <a:ext uri="{FF2B5EF4-FFF2-40B4-BE49-F238E27FC236}">
                <a16:creationId xmlns:a16="http://schemas.microsoft.com/office/drawing/2014/main" id="{A43C08C2-4C52-5863-DFC2-28E11858E6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5364002"/>
            <a:ext cx="747625" cy="2034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0" name="Rectangle 93">
            <a:extLst>
              <a:ext uri="{FF2B5EF4-FFF2-40B4-BE49-F238E27FC236}">
                <a16:creationId xmlns:a16="http://schemas.microsoft.com/office/drawing/2014/main" id="{3030BC70-3B0A-392F-C04B-7D8330D142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5462" y="5364002"/>
            <a:ext cx="745587" cy="20348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1" name="Rectangle 94">
            <a:extLst>
              <a:ext uri="{FF2B5EF4-FFF2-40B4-BE49-F238E27FC236}">
                <a16:creationId xmlns:a16="http://schemas.microsoft.com/office/drawing/2014/main" id="{CF126786-422C-3264-D217-F13BF2F92D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5117" y="5364002"/>
            <a:ext cx="745587" cy="2034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2" name="Rectangle 95">
            <a:extLst>
              <a:ext uri="{FF2B5EF4-FFF2-40B4-BE49-F238E27FC236}">
                <a16:creationId xmlns:a16="http://schemas.microsoft.com/office/drawing/2014/main" id="{11E318D0-E06C-447F-358D-6D693C849A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2817" y="5364002"/>
            <a:ext cx="745587" cy="20348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3" name="Rectangle 96">
            <a:extLst>
              <a:ext uri="{FF2B5EF4-FFF2-40B4-BE49-F238E27FC236}">
                <a16:creationId xmlns:a16="http://schemas.microsoft.com/office/drawing/2014/main" id="{E12F73A6-FEFC-5BA9-F039-F3E440AA18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14414" y="5567034"/>
            <a:ext cx="745587" cy="20348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4" name="Rectangle 97">
            <a:extLst>
              <a:ext uri="{FF2B5EF4-FFF2-40B4-BE49-F238E27FC236}">
                <a16:creationId xmlns:a16="http://schemas.microsoft.com/office/drawing/2014/main" id="{7E5FF1A3-9DEB-52D1-0AEA-DAC5BAAC7F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5567034"/>
            <a:ext cx="745587" cy="20348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5" name="Rectangle 98">
            <a:extLst>
              <a:ext uri="{FF2B5EF4-FFF2-40B4-BE49-F238E27FC236}">
                <a16:creationId xmlns:a16="http://schemas.microsoft.com/office/drawing/2014/main" id="{7B025289-FD3D-6D53-B786-3C6D6654B0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3204" y="5567034"/>
            <a:ext cx="745587" cy="20348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6" name="Rectangle 99">
            <a:extLst>
              <a:ext uri="{FF2B5EF4-FFF2-40B4-BE49-F238E27FC236}">
                <a16:creationId xmlns:a16="http://schemas.microsoft.com/office/drawing/2014/main" id="{15BAB92A-2294-31E0-CB5E-2BDFA95C4F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713" y="5567034"/>
            <a:ext cx="745587" cy="2034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7" name="Rectangle 100">
            <a:extLst>
              <a:ext uri="{FF2B5EF4-FFF2-40B4-BE49-F238E27FC236}">
                <a16:creationId xmlns:a16="http://schemas.microsoft.com/office/drawing/2014/main" id="{3E845DD7-4BF7-3589-CE1F-80502FF631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5567034"/>
            <a:ext cx="745587" cy="20348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8" name="Rectangle 101">
            <a:extLst>
              <a:ext uri="{FF2B5EF4-FFF2-40B4-BE49-F238E27FC236}">
                <a16:creationId xmlns:a16="http://schemas.microsoft.com/office/drawing/2014/main" id="{7B1084A9-41DD-B8BF-43E5-B7BB896B6A5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5801" y="5567034"/>
            <a:ext cx="745587" cy="2034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9" name="Rectangle 102">
            <a:extLst>
              <a:ext uri="{FF2B5EF4-FFF2-40B4-BE49-F238E27FC236}">
                <a16:creationId xmlns:a16="http://schemas.microsoft.com/office/drawing/2014/main" id="{5B3A88AC-BE59-A189-D683-CF7F517B5E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5567034"/>
            <a:ext cx="747625" cy="20348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0" name="Rectangle 103">
            <a:extLst>
              <a:ext uri="{FF2B5EF4-FFF2-40B4-BE49-F238E27FC236}">
                <a16:creationId xmlns:a16="http://schemas.microsoft.com/office/drawing/2014/main" id="{C681A130-BE92-9AE9-23EB-39FB2547AD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5462" y="5567034"/>
            <a:ext cx="745587" cy="2034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1" name="Rectangle 104">
            <a:extLst>
              <a:ext uri="{FF2B5EF4-FFF2-40B4-BE49-F238E27FC236}">
                <a16:creationId xmlns:a16="http://schemas.microsoft.com/office/drawing/2014/main" id="{E182A329-5EE0-EA83-8D41-3053C7499F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5117" y="5567034"/>
            <a:ext cx="745587" cy="2034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2" name="Rectangle 105">
            <a:extLst>
              <a:ext uri="{FF2B5EF4-FFF2-40B4-BE49-F238E27FC236}">
                <a16:creationId xmlns:a16="http://schemas.microsoft.com/office/drawing/2014/main" id="{CCA2CB03-E341-BF2A-1DDF-579CBFB3EC7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2817" y="5567034"/>
            <a:ext cx="745587" cy="2034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3" name="Rectangle 106">
            <a:extLst>
              <a:ext uri="{FF2B5EF4-FFF2-40B4-BE49-F238E27FC236}">
                <a16:creationId xmlns:a16="http://schemas.microsoft.com/office/drawing/2014/main" id="{55E07BD8-B39B-5797-48AB-2F05222E71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14414" y="5770067"/>
            <a:ext cx="745587" cy="203485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4" name="Rectangle 107">
            <a:extLst>
              <a:ext uri="{FF2B5EF4-FFF2-40B4-BE49-F238E27FC236}">
                <a16:creationId xmlns:a16="http://schemas.microsoft.com/office/drawing/2014/main" id="{C4335452-A0AD-6294-8EDD-1A12A7B642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5770067"/>
            <a:ext cx="745587" cy="20348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5" name="Rectangle 108">
            <a:extLst>
              <a:ext uri="{FF2B5EF4-FFF2-40B4-BE49-F238E27FC236}">
                <a16:creationId xmlns:a16="http://schemas.microsoft.com/office/drawing/2014/main" id="{F4F3F77A-BBAE-3AFF-849D-486B159960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3204" y="5770067"/>
            <a:ext cx="745587" cy="20348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6" name="Rectangle 109">
            <a:extLst>
              <a:ext uri="{FF2B5EF4-FFF2-40B4-BE49-F238E27FC236}">
                <a16:creationId xmlns:a16="http://schemas.microsoft.com/office/drawing/2014/main" id="{BDAEDB45-C6B2-65A3-EFFE-919619523E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713" y="5770067"/>
            <a:ext cx="745587" cy="20348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7" name="Rectangle 110">
            <a:extLst>
              <a:ext uri="{FF2B5EF4-FFF2-40B4-BE49-F238E27FC236}">
                <a16:creationId xmlns:a16="http://schemas.microsoft.com/office/drawing/2014/main" id="{740BE837-813B-08D9-4343-15CB8B0672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5770067"/>
            <a:ext cx="745587" cy="20348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8" name="Rectangle 111">
            <a:extLst>
              <a:ext uri="{FF2B5EF4-FFF2-40B4-BE49-F238E27FC236}">
                <a16:creationId xmlns:a16="http://schemas.microsoft.com/office/drawing/2014/main" id="{DA380750-4ABD-9820-A30E-CAC83BB60E1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5801" y="5770067"/>
            <a:ext cx="745587" cy="20348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59" name="Rectangle 112">
            <a:extLst>
              <a:ext uri="{FF2B5EF4-FFF2-40B4-BE49-F238E27FC236}">
                <a16:creationId xmlns:a16="http://schemas.microsoft.com/office/drawing/2014/main" id="{E13EED51-D9CC-8DD5-5F89-9F6CDBC429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5770067"/>
            <a:ext cx="747625" cy="20348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0" name="Rectangle 113">
            <a:extLst>
              <a:ext uri="{FF2B5EF4-FFF2-40B4-BE49-F238E27FC236}">
                <a16:creationId xmlns:a16="http://schemas.microsoft.com/office/drawing/2014/main" id="{AC681E87-0348-9F31-46BA-1DB94324626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5462" y="5770067"/>
            <a:ext cx="745587" cy="20348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1" name="Rectangle 114">
            <a:extLst>
              <a:ext uri="{FF2B5EF4-FFF2-40B4-BE49-F238E27FC236}">
                <a16:creationId xmlns:a16="http://schemas.microsoft.com/office/drawing/2014/main" id="{F85EF853-D494-6C0F-43D5-A7C05DCFF8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5117" y="5770067"/>
            <a:ext cx="745587" cy="20348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2" name="Rectangle 115">
            <a:extLst>
              <a:ext uri="{FF2B5EF4-FFF2-40B4-BE49-F238E27FC236}">
                <a16:creationId xmlns:a16="http://schemas.microsoft.com/office/drawing/2014/main" id="{B1B6EAD2-88D1-7B42-D186-9267BAF4B0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2817" y="5770067"/>
            <a:ext cx="745587" cy="20348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3" name="Rectangle 116">
            <a:extLst>
              <a:ext uri="{FF2B5EF4-FFF2-40B4-BE49-F238E27FC236}">
                <a16:creationId xmlns:a16="http://schemas.microsoft.com/office/drawing/2014/main" id="{8A052544-9C5C-A827-4C8B-3A421B615A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14414" y="5973099"/>
            <a:ext cx="745587" cy="20348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4" name="Rectangle 117">
            <a:extLst>
              <a:ext uri="{FF2B5EF4-FFF2-40B4-BE49-F238E27FC236}">
                <a16:creationId xmlns:a16="http://schemas.microsoft.com/office/drawing/2014/main" id="{CFDB95B9-BB94-6B7E-F487-9D41045E67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62740" y="5973099"/>
            <a:ext cx="745587" cy="203485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5" name="Rectangle 118">
            <a:extLst>
              <a:ext uri="{FF2B5EF4-FFF2-40B4-BE49-F238E27FC236}">
                <a16:creationId xmlns:a16="http://schemas.microsoft.com/office/drawing/2014/main" id="{55A52A34-E07C-72D2-EF9F-869C62B973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3204" y="5973099"/>
            <a:ext cx="745587" cy="20348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6" name="Rectangle 119">
            <a:extLst>
              <a:ext uri="{FF2B5EF4-FFF2-40B4-BE49-F238E27FC236}">
                <a16:creationId xmlns:a16="http://schemas.microsoft.com/office/drawing/2014/main" id="{9DFFBF52-B667-A1D4-03EE-C0D71DCAC0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89713" y="5973099"/>
            <a:ext cx="745587" cy="203485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7" name="Rectangle 120">
            <a:extLst>
              <a:ext uri="{FF2B5EF4-FFF2-40B4-BE49-F238E27FC236}">
                <a16:creationId xmlns:a16="http://schemas.microsoft.com/office/drawing/2014/main" id="{6857E549-7A92-AA7B-0336-F807F3BD66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811" y="5973099"/>
            <a:ext cx="745587" cy="203485"/>
          </a:xfrm>
          <a:prstGeom prst="rect">
            <a:avLst/>
          </a:prstGeom>
          <a:solidFill>
            <a:schemeClr val="accent1">
              <a:lumMod val="1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8" name="Rectangle 121">
            <a:extLst>
              <a:ext uri="{FF2B5EF4-FFF2-40B4-BE49-F238E27FC236}">
                <a16:creationId xmlns:a16="http://schemas.microsoft.com/office/drawing/2014/main" id="{1714C281-090F-4AC6-1E05-F1D2F4A99E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5801" y="5973099"/>
            <a:ext cx="745587" cy="20348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69" name="Rectangle 122">
            <a:extLst>
              <a:ext uri="{FF2B5EF4-FFF2-40B4-BE49-F238E27FC236}">
                <a16:creationId xmlns:a16="http://schemas.microsoft.com/office/drawing/2014/main" id="{4C14ADF2-58E5-655D-AF9E-FF75726385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576" y="5973099"/>
            <a:ext cx="747625" cy="20348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0" name="Rectangle 123">
            <a:extLst>
              <a:ext uri="{FF2B5EF4-FFF2-40B4-BE49-F238E27FC236}">
                <a16:creationId xmlns:a16="http://schemas.microsoft.com/office/drawing/2014/main" id="{E90B8B50-6084-B352-2A05-8EC7FBADE4C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5462" y="5973099"/>
            <a:ext cx="745587" cy="20348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1" name="Rectangle 124">
            <a:extLst>
              <a:ext uri="{FF2B5EF4-FFF2-40B4-BE49-F238E27FC236}">
                <a16:creationId xmlns:a16="http://schemas.microsoft.com/office/drawing/2014/main" id="{E44EAE29-C74A-F924-2B7E-D7F8DB31F5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5117" y="5973099"/>
            <a:ext cx="745587" cy="203485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2" name="Rectangle 125">
            <a:extLst>
              <a:ext uri="{FF2B5EF4-FFF2-40B4-BE49-F238E27FC236}">
                <a16:creationId xmlns:a16="http://schemas.microsoft.com/office/drawing/2014/main" id="{CBB7968D-C6C4-E8CF-1B38-53098FE815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2817" y="5973099"/>
            <a:ext cx="745587" cy="20348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cxnSp>
        <p:nvCxnSpPr>
          <p:cNvPr id="173" name="Gerade Verbindung 76">
            <a:extLst>
              <a:ext uri="{FF2B5EF4-FFF2-40B4-BE49-F238E27FC236}">
                <a16:creationId xmlns:a16="http://schemas.microsoft.com/office/drawing/2014/main" id="{542CEF85-3C1F-D3D7-99F0-C972E63F8EFD}"/>
              </a:ext>
            </a:extLst>
          </p:cNvPr>
          <p:cNvCxnSpPr>
            <a:cxnSpLocks/>
          </p:cNvCxnSpPr>
          <p:nvPr/>
        </p:nvCxnSpPr>
        <p:spPr bwMode="gray">
          <a:xfrm>
            <a:off x="4583428" y="5162506"/>
            <a:ext cx="705363" cy="100556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Gerade Verbindung 90">
            <a:extLst>
              <a:ext uri="{FF2B5EF4-FFF2-40B4-BE49-F238E27FC236}">
                <a16:creationId xmlns:a16="http://schemas.microsoft.com/office/drawing/2014/main" id="{0A23ADF4-3978-2654-57D6-534CC7915962}"/>
              </a:ext>
            </a:extLst>
          </p:cNvPr>
          <p:cNvCxnSpPr>
            <a:cxnSpLocks/>
          </p:cNvCxnSpPr>
          <p:nvPr/>
        </p:nvCxnSpPr>
        <p:spPr bwMode="gray">
          <a:xfrm>
            <a:off x="5329937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Gerade Verbindung 90">
            <a:extLst>
              <a:ext uri="{FF2B5EF4-FFF2-40B4-BE49-F238E27FC236}">
                <a16:creationId xmlns:a16="http://schemas.microsoft.com/office/drawing/2014/main" id="{A79A6EA1-6E5C-3A93-5E09-41A83899FCB6}"/>
              </a:ext>
            </a:extLst>
          </p:cNvPr>
          <p:cNvCxnSpPr>
            <a:cxnSpLocks/>
          </p:cNvCxnSpPr>
          <p:nvPr/>
        </p:nvCxnSpPr>
        <p:spPr bwMode="gray">
          <a:xfrm>
            <a:off x="7134035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90">
            <a:extLst>
              <a:ext uri="{FF2B5EF4-FFF2-40B4-BE49-F238E27FC236}">
                <a16:creationId xmlns:a16="http://schemas.microsoft.com/office/drawing/2014/main" id="{4F10B7D0-5DC5-8BCD-D61D-7C1A6E310BD6}"/>
              </a:ext>
            </a:extLst>
          </p:cNvPr>
          <p:cNvCxnSpPr>
            <a:cxnSpLocks/>
          </p:cNvCxnSpPr>
          <p:nvPr/>
        </p:nvCxnSpPr>
        <p:spPr bwMode="gray">
          <a:xfrm>
            <a:off x="7886025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90">
            <a:extLst>
              <a:ext uri="{FF2B5EF4-FFF2-40B4-BE49-F238E27FC236}">
                <a16:creationId xmlns:a16="http://schemas.microsoft.com/office/drawing/2014/main" id="{E85BC8B9-F17D-58FF-6E21-9761B62FD53D}"/>
              </a:ext>
            </a:extLst>
          </p:cNvPr>
          <p:cNvCxnSpPr>
            <a:cxnSpLocks/>
          </p:cNvCxnSpPr>
          <p:nvPr/>
        </p:nvCxnSpPr>
        <p:spPr bwMode="gray">
          <a:xfrm>
            <a:off x="8635838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90">
            <a:extLst>
              <a:ext uri="{FF2B5EF4-FFF2-40B4-BE49-F238E27FC236}">
                <a16:creationId xmlns:a16="http://schemas.microsoft.com/office/drawing/2014/main" id="{B5AB958C-354F-4A8D-534D-44B13A07A99A}"/>
              </a:ext>
            </a:extLst>
          </p:cNvPr>
          <p:cNvCxnSpPr>
            <a:cxnSpLocks/>
          </p:cNvCxnSpPr>
          <p:nvPr/>
        </p:nvCxnSpPr>
        <p:spPr bwMode="gray">
          <a:xfrm>
            <a:off x="6085686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90">
            <a:extLst>
              <a:ext uri="{FF2B5EF4-FFF2-40B4-BE49-F238E27FC236}">
                <a16:creationId xmlns:a16="http://schemas.microsoft.com/office/drawing/2014/main" id="{BD00BC4A-B0C0-D4A0-B6F2-D85896D44CA9}"/>
              </a:ext>
            </a:extLst>
          </p:cNvPr>
          <p:cNvCxnSpPr>
            <a:cxnSpLocks/>
          </p:cNvCxnSpPr>
          <p:nvPr/>
        </p:nvCxnSpPr>
        <p:spPr bwMode="gray">
          <a:xfrm>
            <a:off x="9375341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 Verbindung 90">
            <a:extLst>
              <a:ext uri="{FF2B5EF4-FFF2-40B4-BE49-F238E27FC236}">
                <a16:creationId xmlns:a16="http://schemas.microsoft.com/office/drawing/2014/main" id="{6D0FD617-E64A-672B-394B-8EC175A0A826}"/>
              </a:ext>
            </a:extLst>
          </p:cNvPr>
          <p:cNvCxnSpPr>
            <a:cxnSpLocks/>
          </p:cNvCxnSpPr>
          <p:nvPr/>
        </p:nvCxnSpPr>
        <p:spPr bwMode="gray">
          <a:xfrm>
            <a:off x="10123041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70">
            <a:extLst>
              <a:ext uri="{FF2B5EF4-FFF2-40B4-BE49-F238E27FC236}">
                <a16:creationId xmlns:a16="http://schemas.microsoft.com/office/drawing/2014/main" id="{4732F3B8-95A4-B98C-FCD7-14BE6B101D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93944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1"/>
                </a:solidFill>
              </a:rPr>
              <a:t>WARM-</a:t>
            </a:r>
            <a:br>
              <a:rPr lang="de-DE" sz="1000">
                <a:solidFill>
                  <a:schemeClr val="accent1"/>
                </a:solidFill>
              </a:rPr>
            </a:br>
            <a:r>
              <a:rPr lang="de-DE" sz="1000">
                <a:solidFill>
                  <a:schemeClr val="accent1"/>
                </a:solidFill>
              </a:rPr>
              <a:t>GRAU</a:t>
            </a:r>
          </a:p>
        </p:txBody>
      </p:sp>
      <p:sp>
        <p:nvSpPr>
          <p:cNvPr id="182" name="Rectangle 71">
            <a:extLst>
              <a:ext uri="{FF2B5EF4-FFF2-40B4-BE49-F238E27FC236}">
                <a16:creationId xmlns:a16="http://schemas.microsoft.com/office/drawing/2014/main" id="{D3AA3861-12B4-EF84-A496-7A10A2703F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8047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2"/>
                </a:solidFill>
              </a:rPr>
              <a:t>LIND-</a:t>
            </a:r>
            <a:br>
              <a:rPr lang="de-DE" sz="1000">
                <a:solidFill>
                  <a:schemeClr val="accent2"/>
                </a:solidFill>
              </a:rPr>
            </a:br>
            <a:r>
              <a:rPr lang="de-DE" sz="1000">
                <a:solidFill>
                  <a:schemeClr val="accent2"/>
                </a:solidFill>
              </a:rPr>
              <a:t>GRÜN</a:t>
            </a:r>
          </a:p>
        </p:txBody>
      </p:sp>
      <p:sp>
        <p:nvSpPr>
          <p:cNvPr id="183" name="Rectangle 72">
            <a:extLst>
              <a:ext uri="{FF2B5EF4-FFF2-40B4-BE49-F238E27FC236}">
                <a16:creationId xmlns:a16="http://schemas.microsoft.com/office/drawing/2014/main" id="{9CD4D571-FF56-2A16-EAB8-D004ED15CE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593709" y="3878548"/>
            <a:ext cx="747625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3"/>
                </a:solidFill>
              </a:rPr>
              <a:t>AQUA-</a:t>
            </a:r>
            <a:br>
              <a:rPr lang="de-DE" sz="1000">
                <a:solidFill>
                  <a:schemeClr val="accent3"/>
                </a:solidFill>
              </a:rPr>
            </a:br>
            <a:r>
              <a:rPr lang="de-DE" sz="1000">
                <a:solidFill>
                  <a:schemeClr val="accent3"/>
                </a:solidFill>
              </a:rPr>
              <a:t>MARIN</a:t>
            </a:r>
          </a:p>
        </p:txBody>
      </p:sp>
      <p:sp>
        <p:nvSpPr>
          <p:cNvPr id="184" name="Rectangle 73">
            <a:extLst>
              <a:ext uri="{FF2B5EF4-FFF2-40B4-BE49-F238E27FC236}">
                <a16:creationId xmlns:a16="http://schemas.microsoft.com/office/drawing/2014/main" id="{E3F1DE00-0B4D-0BF9-E0DD-800C8C8032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47633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4"/>
                </a:solidFill>
              </a:rPr>
              <a:t>AZURE</a:t>
            </a:r>
          </a:p>
        </p:txBody>
      </p:sp>
      <p:sp>
        <p:nvSpPr>
          <p:cNvPr id="185" name="Rectangle 74">
            <a:extLst>
              <a:ext uri="{FF2B5EF4-FFF2-40B4-BE49-F238E27FC236}">
                <a16:creationId xmlns:a16="http://schemas.microsoft.com/office/drawing/2014/main" id="{5AB6C029-E291-C03A-5A44-963746AEB019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37363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5"/>
                </a:solidFill>
              </a:rPr>
              <a:t>SONEN-</a:t>
            </a:r>
            <a:br>
              <a:rPr lang="de-DE" sz="1000">
                <a:solidFill>
                  <a:schemeClr val="accent5"/>
                </a:solidFill>
              </a:rPr>
            </a:br>
            <a:r>
              <a:rPr lang="de-DE" sz="1000">
                <a:solidFill>
                  <a:schemeClr val="accent5"/>
                </a:solidFill>
              </a:rPr>
              <a:t>GELB</a:t>
            </a:r>
          </a:p>
        </p:txBody>
      </p:sp>
      <p:sp>
        <p:nvSpPr>
          <p:cNvPr id="186" name="Rectangle 75">
            <a:extLst>
              <a:ext uri="{FF2B5EF4-FFF2-40B4-BE49-F238E27FC236}">
                <a16:creationId xmlns:a16="http://schemas.microsoft.com/office/drawing/2014/main" id="{FFBDADA6-0E32-9AF1-63AD-4913239104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85063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accent6"/>
                </a:solidFill>
              </a:rPr>
              <a:t>GRAU-</a:t>
            </a:r>
            <a:br>
              <a:rPr lang="de-DE" sz="1000">
                <a:solidFill>
                  <a:schemeClr val="accent6"/>
                </a:solidFill>
              </a:rPr>
            </a:br>
            <a:r>
              <a:rPr lang="de-DE" sz="1000">
                <a:solidFill>
                  <a:schemeClr val="accent6"/>
                </a:solidFill>
              </a:rPr>
              <a:t>BEIGE</a:t>
            </a:r>
          </a:p>
        </p:txBody>
      </p:sp>
      <p:sp>
        <p:nvSpPr>
          <p:cNvPr id="187" name="Rectangle 67">
            <a:extLst>
              <a:ext uri="{FF2B5EF4-FFF2-40B4-BE49-F238E27FC236}">
                <a16:creationId xmlns:a16="http://schemas.microsoft.com/office/drawing/2014/main" id="{8E8EAA77-8146-6C09-5CB3-F235D6298B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05530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/>
              <a:t>SCHWARZ</a:t>
            </a:r>
          </a:p>
        </p:txBody>
      </p:sp>
      <p:sp>
        <p:nvSpPr>
          <p:cNvPr id="188" name="Rectangle 68">
            <a:extLst>
              <a:ext uri="{FF2B5EF4-FFF2-40B4-BE49-F238E27FC236}">
                <a16:creationId xmlns:a16="http://schemas.microsoft.com/office/drawing/2014/main" id="{C23CB47A-33C1-A9A7-EE53-CCD677F802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87857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chemeClr val="bg2"/>
                </a:solidFill>
              </a:rPr>
              <a:t>IMPULS-</a:t>
            </a:r>
            <a:br>
              <a:rPr lang="de-DE" sz="1000">
                <a:solidFill>
                  <a:schemeClr val="bg2"/>
                </a:solidFill>
              </a:rPr>
            </a:br>
            <a:r>
              <a:rPr lang="de-DE" sz="1000">
                <a:solidFill>
                  <a:schemeClr val="bg2"/>
                </a:solidFill>
              </a:rPr>
              <a:t>ORANGE</a:t>
            </a:r>
          </a:p>
        </p:txBody>
      </p:sp>
      <p:sp>
        <p:nvSpPr>
          <p:cNvPr id="189" name="Rectangle 69">
            <a:extLst>
              <a:ext uri="{FF2B5EF4-FFF2-40B4-BE49-F238E27FC236}">
                <a16:creationId xmlns:a16="http://schemas.microsoft.com/office/drawing/2014/main" id="{BB7E5F3F-B466-AEDE-5233-755DC52C536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36262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ctr"/>
            <a:r>
              <a:rPr lang="de-DE" sz="1000">
                <a:solidFill>
                  <a:schemeClr val="tx2"/>
                </a:solidFill>
              </a:rPr>
              <a:t>TIEFEN-</a:t>
            </a:r>
            <a:br>
              <a:rPr lang="de-DE" sz="1000">
                <a:solidFill>
                  <a:schemeClr val="tx2"/>
                </a:solidFill>
              </a:rPr>
            </a:br>
            <a:r>
              <a:rPr lang="de-DE" sz="1000">
                <a:solidFill>
                  <a:schemeClr val="tx2"/>
                </a:solidFill>
              </a:rPr>
              <a:t>BLAU</a:t>
            </a:r>
          </a:p>
        </p:txBody>
      </p:sp>
      <p:sp>
        <p:nvSpPr>
          <p:cNvPr id="190" name="Rectangle 5">
            <a:extLst>
              <a:ext uri="{FF2B5EF4-FFF2-40B4-BE49-F238E27FC236}">
                <a16:creationId xmlns:a16="http://schemas.microsoft.com/office/drawing/2014/main" id="{C843A2EA-E9AA-39B9-1FE2-88163445797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57126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err="1"/>
              <a:t>WEIß</a:t>
            </a:r>
            <a:endParaRPr lang="de-DE" sz="1000"/>
          </a:p>
        </p:txBody>
      </p:sp>
      <p:pic>
        <p:nvPicPr>
          <p:cNvPr id="191" name="Grafik 190">
            <a:extLst>
              <a:ext uri="{FF2B5EF4-FFF2-40B4-BE49-F238E27FC236}">
                <a16:creationId xmlns:a16="http://schemas.microsoft.com/office/drawing/2014/main" id="{5DA8D680-4853-8455-7FC7-EAF9DB2C369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451" y="2275779"/>
            <a:ext cx="2231628" cy="1657277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04" name="Gruppieren 203">
            <a:extLst>
              <a:ext uri="{FF2B5EF4-FFF2-40B4-BE49-F238E27FC236}">
                <a16:creationId xmlns:a16="http://schemas.microsoft.com/office/drawing/2014/main" id="{65B8318D-0E76-579E-5FA7-97F509BA4509}"/>
              </a:ext>
            </a:extLst>
          </p:cNvPr>
          <p:cNvGrpSpPr/>
          <p:nvPr/>
        </p:nvGrpSpPr>
        <p:grpSpPr bwMode="gray">
          <a:xfrm>
            <a:off x="2914336" y="3302484"/>
            <a:ext cx="1495250" cy="175892"/>
            <a:chOff x="539750" y="1940114"/>
            <a:chExt cx="1224136" cy="144000"/>
          </a:xfrm>
        </p:grpSpPr>
        <p:cxnSp>
          <p:nvCxnSpPr>
            <p:cNvPr id="205" name="Gerade Verbindung 82">
              <a:extLst>
                <a:ext uri="{FF2B5EF4-FFF2-40B4-BE49-F238E27FC236}">
                  <a16:creationId xmlns:a16="http://schemas.microsoft.com/office/drawing/2014/main" id="{8E4FAF85-E563-0CE5-F41E-777019812BCD}"/>
                </a:ext>
              </a:extLst>
            </p:cNvPr>
            <p:cNvCxnSpPr/>
            <p:nvPr/>
          </p:nvCxnSpPr>
          <p:spPr bwMode="gray">
            <a:xfrm>
              <a:off x="539750" y="2012114"/>
              <a:ext cx="122413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Rechteck 205">
              <a:extLst>
                <a:ext uri="{FF2B5EF4-FFF2-40B4-BE49-F238E27FC236}">
                  <a16:creationId xmlns:a16="http://schemas.microsoft.com/office/drawing/2014/main" id="{B8B7E7A5-9E7D-A9A2-5754-CC6ED4DC4EC6}"/>
                </a:ext>
              </a:extLst>
            </p:cNvPr>
            <p:cNvSpPr/>
            <p:nvPr/>
          </p:nvSpPr>
          <p:spPr bwMode="gray">
            <a:xfrm>
              <a:off x="737772" y="1940114"/>
              <a:ext cx="828092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>
                  <a:solidFill>
                    <a:schemeClr val="tx1"/>
                  </a:solidFill>
                </a:rPr>
                <a:t>Hintergrund-</a:t>
              </a:r>
              <a:r>
                <a:rPr lang="de-DE" sz="1200">
                  <a:solidFill>
                    <a:schemeClr val="tx1"/>
                  </a:solidFill>
                </a:rPr>
                <a:t> und </a:t>
              </a:r>
              <a:r>
                <a:rPr lang="de-DE" sz="1200" b="1" err="1">
                  <a:solidFill>
                    <a:schemeClr val="tx1"/>
                  </a:solidFill>
                </a:rPr>
                <a:t>Typofarbe</a:t>
              </a:r>
              <a:endParaRPr lang="de-DE" sz="1200" b="1">
                <a:solidFill>
                  <a:schemeClr val="tx1"/>
                </a:solidFill>
              </a:endParaRPr>
            </a:p>
          </p:txBody>
        </p:sp>
      </p:grpSp>
      <p:grpSp>
        <p:nvGrpSpPr>
          <p:cNvPr id="207" name="Gruppieren 206">
            <a:extLst>
              <a:ext uri="{FF2B5EF4-FFF2-40B4-BE49-F238E27FC236}">
                <a16:creationId xmlns:a16="http://schemas.microsoft.com/office/drawing/2014/main" id="{213D4704-3AAC-824F-2231-C99844F72425}"/>
              </a:ext>
            </a:extLst>
          </p:cNvPr>
          <p:cNvGrpSpPr/>
          <p:nvPr/>
        </p:nvGrpSpPr>
        <p:grpSpPr bwMode="gray">
          <a:xfrm>
            <a:off x="4606523" y="3302484"/>
            <a:ext cx="2247844" cy="175892"/>
            <a:chOff x="610236" y="1940114"/>
            <a:chExt cx="1224136" cy="144000"/>
          </a:xfrm>
        </p:grpSpPr>
        <p:cxnSp>
          <p:nvCxnSpPr>
            <p:cNvPr id="208" name="Gerade Verbindung 85">
              <a:extLst>
                <a:ext uri="{FF2B5EF4-FFF2-40B4-BE49-F238E27FC236}">
                  <a16:creationId xmlns:a16="http://schemas.microsoft.com/office/drawing/2014/main" id="{5612612F-6B88-4717-CB9F-1B26431BDF45}"/>
                </a:ext>
              </a:extLst>
            </p:cNvPr>
            <p:cNvCxnSpPr/>
            <p:nvPr/>
          </p:nvCxnSpPr>
          <p:spPr bwMode="gray">
            <a:xfrm>
              <a:off x="610236" y="2012114"/>
              <a:ext cx="122413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Rechteck 208">
              <a:extLst>
                <a:ext uri="{FF2B5EF4-FFF2-40B4-BE49-F238E27FC236}">
                  <a16:creationId xmlns:a16="http://schemas.microsoft.com/office/drawing/2014/main" id="{8DB9A403-C8F3-2959-106F-382778119A8E}"/>
                </a:ext>
              </a:extLst>
            </p:cNvPr>
            <p:cNvSpPr/>
            <p:nvPr/>
          </p:nvSpPr>
          <p:spPr bwMode="gray">
            <a:xfrm>
              <a:off x="989454" y="1940114"/>
              <a:ext cx="424675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>
                  <a:solidFill>
                    <a:schemeClr val="tx1"/>
                  </a:solidFill>
                </a:rPr>
                <a:t>CI-Farben</a:t>
              </a:r>
              <a:br>
                <a:rPr lang="de-DE" sz="1200" b="1">
                  <a:solidFill>
                    <a:schemeClr val="tx1"/>
                  </a:solidFill>
                </a:rPr>
              </a:br>
              <a:r>
                <a:rPr lang="de-DE" sz="1200">
                  <a:solidFill>
                    <a:schemeClr val="tx1"/>
                  </a:solidFill>
                </a:rPr>
                <a:t>primär</a:t>
              </a:r>
            </a:p>
          </p:txBody>
        </p:sp>
      </p:grpSp>
      <p:grpSp>
        <p:nvGrpSpPr>
          <p:cNvPr id="210" name="Gruppieren 209">
            <a:extLst>
              <a:ext uri="{FF2B5EF4-FFF2-40B4-BE49-F238E27FC236}">
                <a16:creationId xmlns:a16="http://schemas.microsoft.com/office/drawing/2014/main" id="{550CA56E-823F-5BC2-AFEC-6A5DA6DB4BDA}"/>
              </a:ext>
            </a:extLst>
          </p:cNvPr>
          <p:cNvGrpSpPr/>
          <p:nvPr/>
        </p:nvGrpSpPr>
        <p:grpSpPr bwMode="gray">
          <a:xfrm>
            <a:off x="7093810" y="3284984"/>
            <a:ext cx="4486085" cy="211286"/>
            <a:chOff x="647762" y="1940114"/>
            <a:chExt cx="3743562" cy="144000"/>
          </a:xfrm>
        </p:grpSpPr>
        <p:cxnSp>
          <p:nvCxnSpPr>
            <p:cNvPr id="211" name="Gerade Verbindung 95">
              <a:extLst>
                <a:ext uri="{FF2B5EF4-FFF2-40B4-BE49-F238E27FC236}">
                  <a16:creationId xmlns:a16="http://schemas.microsoft.com/office/drawing/2014/main" id="{33C1FC75-BDD7-BCE8-62C0-F23BCE43F0E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7762" y="2012114"/>
              <a:ext cx="3743562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2" name="Rechteck 211">
              <a:extLst>
                <a:ext uri="{FF2B5EF4-FFF2-40B4-BE49-F238E27FC236}">
                  <a16:creationId xmlns:a16="http://schemas.microsoft.com/office/drawing/2014/main" id="{A7A4A452-6874-8D0A-5E68-41689622236E}"/>
                </a:ext>
              </a:extLst>
            </p:cNvPr>
            <p:cNvSpPr/>
            <p:nvPr/>
          </p:nvSpPr>
          <p:spPr bwMode="gray">
            <a:xfrm>
              <a:off x="2015913" y="1940114"/>
              <a:ext cx="1013922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>
                  <a:solidFill>
                    <a:schemeClr val="tx1"/>
                  </a:solidFill>
                </a:rPr>
                <a:t>Akzentfarben</a:t>
              </a:r>
              <a:br>
                <a:rPr lang="de-DE" sz="1200" b="1">
                  <a:solidFill>
                    <a:schemeClr val="tx1"/>
                  </a:solidFill>
                </a:rPr>
              </a:br>
              <a:r>
                <a:rPr lang="de-DE" sz="1200">
                  <a:solidFill>
                    <a:schemeClr val="tx1"/>
                  </a:solidFill>
                </a:rPr>
                <a:t>sekundär</a:t>
              </a:r>
            </a:p>
          </p:txBody>
        </p:sp>
      </p:grpSp>
      <p:sp>
        <p:nvSpPr>
          <p:cNvPr id="213" name="Rectangle 75">
            <a:extLst>
              <a:ext uri="{FF2B5EF4-FFF2-40B4-BE49-F238E27FC236}">
                <a16:creationId xmlns:a16="http://schemas.microsoft.com/office/drawing/2014/main" id="{DDA9C789-9F6B-B45F-4C2D-E92B6CD2B8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6422" y="4228617"/>
            <a:ext cx="745587" cy="652646"/>
          </a:xfrm>
          <a:prstGeom prst="rect">
            <a:avLst/>
          </a:prstGeom>
          <a:solidFill>
            <a:srgbClr val="FC6538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>
                <a:solidFill>
                  <a:srgbClr val="FC6538"/>
                </a:solidFill>
              </a:rPr>
              <a:t>252</a:t>
            </a:r>
            <a:br>
              <a:rPr lang="de-DE" sz="1200">
                <a:solidFill>
                  <a:srgbClr val="FC6538"/>
                </a:solidFill>
              </a:rPr>
            </a:br>
            <a:r>
              <a:rPr lang="de-DE" sz="1200">
                <a:solidFill>
                  <a:srgbClr val="FC6538"/>
                </a:solidFill>
              </a:rPr>
              <a:t>101</a:t>
            </a:r>
            <a:br>
              <a:rPr lang="de-DE" sz="1200">
                <a:solidFill>
                  <a:srgbClr val="FC6538"/>
                </a:solidFill>
              </a:rPr>
            </a:br>
            <a:r>
              <a:rPr lang="de-DE" sz="1200">
                <a:solidFill>
                  <a:srgbClr val="FC6538"/>
                </a:solidFill>
              </a:rPr>
              <a:t>056</a:t>
            </a:r>
          </a:p>
        </p:txBody>
      </p:sp>
      <p:sp>
        <p:nvSpPr>
          <p:cNvPr id="214" name="Rectangle 85">
            <a:extLst>
              <a:ext uri="{FF2B5EF4-FFF2-40B4-BE49-F238E27FC236}">
                <a16:creationId xmlns:a16="http://schemas.microsoft.com/office/drawing/2014/main" id="{9A7C902D-AF3A-80A4-CF41-6957BD82F0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4309" y="5160970"/>
            <a:ext cx="745587" cy="203485"/>
          </a:xfrm>
          <a:prstGeom prst="rect">
            <a:avLst/>
          </a:prstGeom>
          <a:solidFill>
            <a:srgbClr val="FDF3F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15" name="Rectangle 95">
            <a:extLst>
              <a:ext uri="{FF2B5EF4-FFF2-40B4-BE49-F238E27FC236}">
                <a16:creationId xmlns:a16="http://schemas.microsoft.com/office/drawing/2014/main" id="{BCABFC41-EFF8-4FA9-965C-AC9881D731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4309" y="5364002"/>
            <a:ext cx="745587" cy="203485"/>
          </a:xfrm>
          <a:prstGeom prst="rect">
            <a:avLst/>
          </a:prstGeom>
          <a:solidFill>
            <a:srgbClr val="FCDDD3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16" name="Rectangle 105">
            <a:extLst>
              <a:ext uri="{FF2B5EF4-FFF2-40B4-BE49-F238E27FC236}">
                <a16:creationId xmlns:a16="http://schemas.microsoft.com/office/drawing/2014/main" id="{5B0C0D4A-F515-DC83-B5AF-4FBBD82142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4309" y="5567034"/>
            <a:ext cx="745587" cy="203485"/>
          </a:xfrm>
          <a:prstGeom prst="rect">
            <a:avLst/>
          </a:prstGeom>
          <a:solidFill>
            <a:srgbClr val="FDC2B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17" name="Rectangle 115">
            <a:extLst>
              <a:ext uri="{FF2B5EF4-FFF2-40B4-BE49-F238E27FC236}">
                <a16:creationId xmlns:a16="http://schemas.microsoft.com/office/drawing/2014/main" id="{C2CB5745-5334-5B3E-DCFB-29490903177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4309" y="5770067"/>
            <a:ext cx="745587" cy="203485"/>
          </a:xfrm>
          <a:prstGeom prst="rect">
            <a:avLst/>
          </a:prstGeom>
          <a:solidFill>
            <a:srgbClr val="FD9E83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218" name="Rectangle 125">
            <a:extLst>
              <a:ext uri="{FF2B5EF4-FFF2-40B4-BE49-F238E27FC236}">
                <a16:creationId xmlns:a16="http://schemas.microsoft.com/office/drawing/2014/main" id="{6C5A337C-D9C9-B710-14AC-2279CB6369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4309" y="5973099"/>
            <a:ext cx="745587" cy="203485"/>
          </a:xfrm>
          <a:prstGeom prst="rect">
            <a:avLst/>
          </a:prstGeom>
          <a:solidFill>
            <a:srgbClr val="FE7E58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solidFill>
                <a:srgbClr val="FE7E58"/>
              </a:solidFill>
            </a:endParaRPr>
          </a:p>
        </p:txBody>
      </p:sp>
      <p:cxnSp>
        <p:nvCxnSpPr>
          <p:cNvPr id="219" name="Gerade Verbindung 90">
            <a:extLst>
              <a:ext uri="{FF2B5EF4-FFF2-40B4-BE49-F238E27FC236}">
                <a16:creationId xmlns:a16="http://schemas.microsoft.com/office/drawing/2014/main" id="{4603EB66-7DCE-B158-9A94-17E21A3C538F}"/>
              </a:ext>
            </a:extLst>
          </p:cNvPr>
          <p:cNvCxnSpPr>
            <a:cxnSpLocks/>
          </p:cNvCxnSpPr>
          <p:nvPr/>
        </p:nvCxnSpPr>
        <p:spPr bwMode="gray">
          <a:xfrm>
            <a:off x="10874533" y="51625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75">
            <a:extLst>
              <a:ext uri="{FF2B5EF4-FFF2-40B4-BE49-F238E27FC236}">
                <a16:creationId xmlns:a16="http://schemas.microsoft.com/office/drawing/2014/main" id="{515C08A3-EDF2-7E0E-8A5D-71E7B25C3F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36555" y="38785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>
                <a:solidFill>
                  <a:srgbClr val="FC6538"/>
                </a:solidFill>
              </a:rPr>
              <a:t>TAROCCO</a:t>
            </a:r>
          </a:p>
        </p:txBody>
      </p:sp>
    </p:spTree>
    <p:extLst>
      <p:ext uri="{BB962C8B-B14F-4D97-AF65-F5344CB8AC3E}">
        <p14:creationId xmlns:p14="http://schemas.microsoft.com/office/powerpoint/2010/main" val="133058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Wichtige</a:t>
            </a:r>
            <a:r>
              <a:rPr lang="en-US"/>
              <a:t> </a:t>
            </a:r>
            <a:r>
              <a:rPr lang="en-US" err="1"/>
              <a:t>Grundeinstellungen</a:t>
            </a:r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3</a:t>
            </a:fld>
            <a:endParaRPr lang="de-DE" noProof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73405E-C0D6-9389-D7AD-42C1355E145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6753" y="1892708"/>
            <a:ext cx="5699235" cy="4128292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AC42A58-4F4F-0419-3AEF-ED4BCB08CA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8000" y="3151925"/>
            <a:ext cx="3335415" cy="313005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498EFE12-12C9-AE30-56FC-753EAC652601}"/>
              </a:ext>
            </a:extLst>
          </p:cNvPr>
          <p:cNvSpPr txBox="1"/>
          <p:nvPr/>
        </p:nvSpPr>
        <p:spPr>
          <a:xfrm>
            <a:off x="407988" y="1881188"/>
            <a:ext cx="2448012" cy="158684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pPr>
              <a:spcAft>
                <a:spcPts val="600"/>
              </a:spcAft>
            </a:pPr>
            <a:r>
              <a:rPr lang="de-DE">
                <a:latin typeface="+mn-lt"/>
              </a:rPr>
              <a:t>Bitte schalte alle Häkchen bei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„Währende der Eingabeübernehmen“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komplett aus. Nur so kann eine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optimale Nutzung des erstellten</a:t>
            </a:r>
            <a:br>
              <a:rPr lang="de-DE">
                <a:latin typeface="+mn-lt"/>
              </a:rPr>
            </a:br>
            <a:r>
              <a:rPr lang="de-DE">
                <a:latin typeface="+mn-lt"/>
              </a:rPr>
              <a:t>Masters garantiert werden.</a:t>
            </a:r>
          </a:p>
          <a:p>
            <a:pPr>
              <a:spcAft>
                <a:spcPts val="600"/>
              </a:spcAft>
            </a:pPr>
            <a:r>
              <a:rPr lang="de-DE" b="1">
                <a:latin typeface="+mn-lt"/>
              </a:rPr>
              <a:t>Registerkarte</a:t>
            </a:r>
            <a:r>
              <a:rPr lang="de-DE">
                <a:latin typeface="+mn-lt"/>
              </a:rPr>
              <a:t>: Datei | Optionen | Dokumentenprüfung | </a:t>
            </a:r>
            <a:r>
              <a:rPr lang="de-DE" err="1">
                <a:latin typeface="+mn-lt"/>
              </a:rPr>
              <a:t>AutoKorrektur</a:t>
            </a:r>
            <a:r>
              <a:rPr lang="de-DE">
                <a:latin typeface="+mn-lt"/>
              </a:rPr>
              <a:t>-Optionen</a:t>
            </a:r>
          </a:p>
        </p:txBody>
      </p:sp>
    </p:spTree>
    <p:extLst>
      <p:ext uri="{BB962C8B-B14F-4D97-AF65-F5344CB8AC3E}">
        <p14:creationId xmlns:p14="http://schemas.microsoft.com/office/powerpoint/2010/main" val="206982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solidFill>
                  <a:srgbClr val="322A26"/>
                </a:solidFill>
              </a:rPr>
              <a:t>Grunddesign</a:t>
            </a:r>
            <a:endParaRPr lang="de-DE">
              <a:solidFill>
                <a:srgbClr val="322A26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</a:t>
            </a:fld>
            <a:endParaRPr lang="de-DE" noProof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4F86458-587A-70C3-9B7B-F129F98E91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/>
          <a:p>
            <a:r>
              <a:rPr lang="de-DE" err="1"/>
              <a:t>Subline</a:t>
            </a:r>
            <a:r>
              <a:rPr lang="de-DE"/>
              <a:t>: 18pt </a:t>
            </a:r>
            <a:r>
              <a:rPr lang="de-DE">
                <a:solidFill>
                  <a:srgbClr val="322A26"/>
                </a:solidFill>
              </a:rPr>
              <a:t>Mark OT Medium</a:t>
            </a:r>
          </a:p>
          <a:p>
            <a:pPr lvl="1"/>
            <a:r>
              <a:rPr lang="de-DE"/>
              <a:t>Zweite Ebene: </a:t>
            </a:r>
            <a:r>
              <a:rPr lang="de-DE">
                <a:solidFill>
                  <a:srgbClr val="322A26"/>
                </a:solidFill>
              </a:rPr>
              <a:t>Fließtext</a:t>
            </a:r>
            <a:r>
              <a:rPr lang="de-DE"/>
              <a:t> 16pt EnBW DIN Pro</a:t>
            </a:r>
          </a:p>
          <a:p>
            <a:pPr lvl="2"/>
            <a:r>
              <a:rPr lang="de-DE"/>
              <a:t>Dritte Ebene: Aufzählung 16pt | Einzug: 0,75/0,75</a:t>
            </a:r>
            <a:br>
              <a:rPr lang="de-DE"/>
            </a:br>
            <a:r>
              <a:rPr lang="de-DE" err="1"/>
              <a:t>Bulletfarbe</a:t>
            </a:r>
            <a:r>
              <a:rPr lang="de-DE"/>
              <a:t> Impuls-Orange</a:t>
            </a:r>
          </a:p>
          <a:p>
            <a:pPr lvl="3"/>
            <a:r>
              <a:rPr lang="de-DE"/>
              <a:t>Vierte Ebene: Aufzählung 16pt | Einzug: 1,5/0,75</a:t>
            </a:r>
            <a:br>
              <a:rPr lang="de-DE"/>
            </a:br>
            <a:r>
              <a:rPr lang="de-DE" err="1"/>
              <a:t>Bulletfarbe</a:t>
            </a:r>
            <a:r>
              <a:rPr lang="de-DE"/>
              <a:t> </a:t>
            </a:r>
            <a:r>
              <a:rPr lang="de-DE" err="1"/>
              <a:t>Warmgrau</a:t>
            </a:r>
            <a:endParaRPr lang="de-DE"/>
          </a:p>
          <a:p>
            <a:pPr lvl="4"/>
            <a:r>
              <a:rPr lang="de-DE"/>
              <a:t>Fünfte Ebene: Aufzählung 16pt | Einzug: 2,25/0,75</a:t>
            </a:r>
            <a:br>
              <a:rPr lang="de-DE"/>
            </a:br>
            <a:r>
              <a:rPr lang="de-DE" err="1"/>
              <a:t>Bulletfarbe</a:t>
            </a:r>
            <a:r>
              <a:rPr lang="de-DE"/>
              <a:t> </a:t>
            </a:r>
            <a:r>
              <a:rPr lang="de-DE" err="1"/>
              <a:t>Warmgrau</a:t>
            </a:r>
            <a:endParaRPr lang="de-DE"/>
          </a:p>
        </p:txBody>
      </p:sp>
      <p:sp>
        <p:nvSpPr>
          <p:cNvPr id="13" name="Foliennummernplatzhalter 10">
            <a:extLst>
              <a:ext uri="{FF2B5EF4-FFF2-40B4-BE49-F238E27FC236}">
                <a16:creationId xmlns:a16="http://schemas.microsoft.com/office/drawing/2014/main" id="{3B41A35E-14B1-9327-2333-A3C15E29742C}"/>
              </a:ext>
            </a:extLst>
          </p:cNvPr>
          <p:cNvSpPr txBox="1">
            <a:spLocks/>
          </p:cNvSpPr>
          <p:nvPr/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1FCF6D-0389-4320-9D89-9A0C90B3708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3774BAC4-0221-3E62-42D8-3D44C68116D6}"/>
              </a:ext>
            </a:extLst>
          </p:cNvPr>
          <p:cNvSpPr/>
          <p:nvPr/>
        </p:nvSpPr>
        <p:spPr>
          <a:xfrm>
            <a:off x="4368000" y="2133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20030A55-B6DC-499F-63E4-AED33FF12527}"/>
              </a:ext>
            </a:extLst>
          </p:cNvPr>
          <p:cNvSpPr/>
          <p:nvPr/>
        </p:nvSpPr>
        <p:spPr>
          <a:xfrm>
            <a:off x="408000" y="2745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B90A74E7-F426-9494-32E0-D833C1AB473A}"/>
              </a:ext>
            </a:extLst>
          </p:cNvPr>
          <p:cNvSpPr/>
          <p:nvPr/>
        </p:nvSpPr>
        <p:spPr>
          <a:xfrm>
            <a:off x="3179676" y="6511824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E1336D7-4222-262D-1324-C0DC57833F7A}"/>
              </a:ext>
            </a:extLst>
          </p:cNvPr>
          <p:cNvGrpSpPr/>
          <p:nvPr/>
        </p:nvGrpSpPr>
        <p:grpSpPr>
          <a:xfrm>
            <a:off x="6086998" y="3549104"/>
            <a:ext cx="5351195" cy="369332"/>
            <a:chOff x="5942966" y="3599728"/>
            <a:chExt cx="5351195" cy="369332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193F2341-57E8-97A8-9CE2-F65C118A20E0}"/>
                </a:ext>
              </a:extLst>
            </p:cNvPr>
            <p:cNvSpPr/>
            <p:nvPr/>
          </p:nvSpPr>
          <p:spPr>
            <a:xfrm>
              <a:off x="5942966" y="3599728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43B464E7-61A4-A399-7A8F-96153FF93BEF}"/>
                </a:ext>
              </a:extLst>
            </p:cNvPr>
            <p:cNvSpPr txBox="1"/>
            <p:nvPr/>
          </p:nvSpPr>
          <p:spPr>
            <a:xfrm>
              <a:off x="6234216" y="3599728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Untertitel Schriftgrößte 18 pt, Farbe: </a:t>
              </a:r>
              <a:r>
                <a:rPr lang="de-DE" sz="1200" err="1">
                  <a:solidFill>
                    <a:srgbClr val="FF00FF"/>
                  </a:solidFill>
                </a:rPr>
                <a:t>Warmgrau</a:t>
              </a:r>
              <a:r>
                <a:rPr lang="de-DE" sz="1200">
                  <a:solidFill>
                    <a:srgbClr val="FF00FF"/>
                  </a:solidFill>
                </a:rPr>
                <a:t>, </a:t>
              </a:r>
              <a:br>
                <a:rPr lang="de-DE" sz="1200">
                  <a:solidFill>
                    <a:srgbClr val="FF00FF"/>
                  </a:solidFill>
                </a:rPr>
              </a:br>
              <a:r>
                <a:rPr lang="de-DE" sz="1200">
                  <a:solidFill>
                    <a:srgbClr val="FF00FF"/>
                  </a:solidFill>
                </a:rPr>
                <a:t>Schriftart Mark OT Medium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59EA13CA-47F7-396E-5B14-38C3DFBB13AD}"/>
              </a:ext>
            </a:extLst>
          </p:cNvPr>
          <p:cNvGrpSpPr/>
          <p:nvPr/>
        </p:nvGrpSpPr>
        <p:grpSpPr>
          <a:xfrm>
            <a:off x="6086998" y="3021052"/>
            <a:ext cx="5351195" cy="369332"/>
            <a:chOff x="5942966" y="2987660"/>
            <a:chExt cx="5351195" cy="369332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0434AFD0-CD78-5911-7871-F3DD467681BD}"/>
                </a:ext>
              </a:extLst>
            </p:cNvPr>
            <p:cNvSpPr/>
            <p:nvPr/>
          </p:nvSpPr>
          <p:spPr>
            <a:xfrm>
              <a:off x="5942966" y="2987660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A81B041-9891-249A-35EA-D952E61736C9}"/>
                </a:ext>
              </a:extLst>
            </p:cNvPr>
            <p:cNvSpPr txBox="1"/>
            <p:nvPr/>
          </p:nvSpPr>
          <p:spPr>
            <a:xfrm>
              <a:off x="6234216" y="2987660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Titel immer in der Schriftgrößte 28 </a:t>
              </a:r>
              <a:r>
                <a:rPr lang="de-DE" sz="1200" err="1">
                  <a:solidFill>
                    <a:srgbClr val="FF00FF"/>
                  </a:solidFill>
                </a:rPr>
                <a:t>pt</a:t>
              </a:r>
              <a:r>
                <a:rPr lang="de-DE" sz="1200">
                  <a:solidFill>
                    <a:srgbClr val="FF00FF"/>
                  </a:solidFill>
                </a:rPr>
                <a:t>, Farbe: </a:t>
              </a:r>
              <a:r>
                <a:rPr lang="de-DE" sz="1200" err="1">
                  <a:solidFill>
                    <a:srgbClr val="FF00FF"/>
                  </a:solidFill>
                </a:rPr>
                <a:t>Warmgrau</a:t>
              </a:r>
              <a:r>
                <a:rPr lang="de-DE" sz="1200">
                  <a:solidFill>
                    <a:srgbClr val="FF00FF"/>
                  </a:solidFill>
                </a:rPr>
                <a:t>, </a:t>
              </a:r>
              <a:br>
                <a:rPr lang="de-DE" sz="1200">
                  <a:solidFill>
                    <a:srgbClr val="FF00FF"/>
                  </a:solidFill>
                </a:rPr>
              </a:br>
              <a:r>
                <a:rPr lang="de-DE" sz="1200">
                  <a:solidFill>
                    <a:srgbClr val="FF00FF"/>
                  </a:solidFill>
                </a:rPr>
                <a:t>Schriftart Mark OT Medium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3E6F2E5-527D-0C74-0A3A-FA15B8B863EA}"/>
              </a:ext>
            </a:extLst>
          </p:cNvPr>
          <p:cNvGrpSpPr/>
          <p:nvPr/>
        </p:nvGrpSpPr>
        <p:grpSpPr>
          <a:xfrm>
            <a:off x="6086998" y="4077156"/>
            <a:ext cx="5351195" cy="369332"/>
            <a:chOff x="5942966" y="4175792"/>
            <a:chExt cx="5351195" cy="369332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563F99C5-4C9E-2D47-9218-743678742B17}"/>
                </a:ext>
              </a:extLst>
            </p:cNvPr>
            <p:cNvSpPr/>
            <p:nvPr/>
          </p:nvSpPr>
          <p:spPr>
            <a:xfrm>
              <a:off x="5942966" y="417579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0CC2CE8A-A68D-16B9-5E5C-B50F1C35AA76}"/>
                </a:ext>
              </a:extLst>
            </p:cNvPr>
            <p:cNvSpPr txBox="1"/>
            <p:nvPr/>
          </p:nvSpPr>
          <p:spPr>
            <a:xfrm>
              <a:off x="6234216" y="4175792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Inhaltstext Schriftgrößte 16 pt, Farbe: </a:t>
              </a:r>
              <a:r>
                <a:rPr lang="de-DE" sz="1200" err="1">
                  <a:solidFill>
                    <a:srgbClr val="FF00FF"/>
                  </a:solidFill>
                </a:rPr>
                <a:t>Warmgrau</a:t>
              </a:r>
              <a:r>
                <a:rPr lang="de-DE" sz="1200">
                  <a:solidFill>
                    <a:srgbClr val="FF00FF"/>
                  </a:solidFill>
                </a:rPr>
                <a:t>,</a:t>
              </a:r>
              <a:br>
                <a:rPr lang="de-DE" sz="1200">
                  <a:solidFill>
                    <a:srgbClr val="FF00FF"/>
                  </a:solidFill>
                </a:rPr>
              </a:br>
              <a:r>
                <a:rPr lang="de-DE" sz="1200">
                  <a:solidFill>
                    <a:srgbClr val="FF00FF"/>
                  </a:solidFill>
                </a:rPr>
                <a:t>Schriftart EnBW DIN Pro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81FB698F-FAE2-32BB-0771-2028821A7AA7}"/>
              </a:ext>
            </a:extLst>
          </p:cNvPr>
          <p:cNvGrpSpPr/>
          <p:nvPr/>
        </p:nvGrpSpPr>
        <p:grpSpPr>
          <a:xfrm>
            <a:off x="6086998" y="4948594"/>
            <a:ext cx="5351195" cy="369332"/>
            <a:chOff x="5942966" y="5003884"/>
            <a:chExt cx="5351195" cy="369332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340BDAF1-5C6C-D6E8-78C7-8765472CC13F}"/>
                </a:ext>
              </a:extLst>
            </p:cNvPr>
            <p:cNvSpPr/>
            <p:nvPr/>
          </p:nvSpPr>
          <p:spPr>
            <a:xfrm>
              <a:off x="5942966" y="5003884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F6CFEFB2-B29E-7B2F-830D-5F16C4BE9AD9}"/>
                </a:ext>
              </a:extLst>
            </p:cNvPr>
            <p:cNvSpPr txBox="1"/>
            <p:nvPr/>
          </p:nvSpPr>
          <p:spPr>
            <a:xfrm>
              <a:off x="6234216" y="5003884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Quelle in der Schriftgrößte 10 pt, Farbe: </a:t>
              </a:r>
              <a:r>
                <a:rPr lang="de-DE" sz="1200" err="1">
                  <a:solidFill>
                    <a:srgbClr val="FF00FF"/>
                  </a:solidFill>
                </a:rPr>
                <a:t>Warmgrau</a:t>
              </a:r>
              <a:r>
                <a:rPr lang="de-DE" sz="1200">
                  <a:solidFill>
                    <a:srgbClr val="FF00FF"/>
                  </a:solidFill>
                </a:rPr>
                <a:t>, </a:t>
              </a:r>
              <a:br>
                <a:rPr lang="de-DE" sz="1200">
                  <a:solidFill>
                    <a:srgbClr val="FF00FF"/>
                  </a:solidFill>
                </a:rPr>
              </a:br>
              <a:r>
                <a:rPr lang="de-DE" sz="1200">
                  <a:solidFill>
                    <a:srgbClr val="FF00FF"/>
                  </a:solidFill>
                </a:rPr>
                <a:t>Schriftart EnBW DIN Pro</a:t>
              </a: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9E608A6E-8755-E67B-404A-4FB30D080780}"/>
              </a:ext>
            </a:extLst>
          </p:cNvPr>
          <p:cNvGrpSpPr/>
          <p:nvPr/>
        </p:nvGrpSpPr>
        <p:grpSpPr>
          <a:xfrm>
            <a:off x="6086998" y="5476648"/>
            <a:ext cx="5733654" cy="738664"/>
            <a:chOff x="5942966" y="5467252"/>
            <a:chExt cx="5733654" cy="738664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1BB6F845-8C50-54AD-9EA7-484E5BF39AED}"/>
                </a:ext>
              </a:extLst>
            </p:cNvPr>
            <p:cNvSpPr/>
            <p:nvPr/>
          </p:nvSpPr>
          <p:spPr>
            <a:xfrm>
              <a:off x="5942966" y="546725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11EB428D-EF4A-C12A-2BCF-38B603AA9E1C}"/>
                </a:ext>
              </a:extLst>
            </p:cNvPr>
            <p:cNvSpPr txBox="1"/>
            <p:nvPr/>
          </p:nvSpPr>
          <p:spPr>
            <a:xfrm>
              <a:off x="6234216" y="5467252"/>
              <a:ext cx="5442404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  <a:t>Designelement zum Folienabschluss mit Datum und Seitenzahl, immer in</a:t>
              </a:r>
              <a:b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</a:br>
              <a: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  <a:t>der Schriftgrößte 10 pt, Farbe: </a:t>
              </a:r>
              <a:r>
                <a:rPr lang="de-DE" sz="1200" err="1">
                  <a:solidFill>
                    <a:srgbClr val="FF00FF"/>
                  </a:solidFill>
                  <a:highlight>
                    <a:srgbClr val="FFFF00"/>
                  </a:highlight>
                </a:rPr>
                <a:t>Warmgrau</a:t>
              </a:r>
              <a: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  <a:t>, Schriftart EnBW DIN Pro. Wie man</a:t>
              </a:r>
              <a:b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</a:br>
              <a: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  <a:t>die Fußzeile und Seitenzahl über den Master einfügt / aktualisiert, wird dir</a:t>
              </a:r>
              <a:b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</a:br>
              <a:r>
                <a:rPr lang="de-DE" sz="1200">
                  <a:solidFill>
                    <a:srgbClr val="FF00FF"/>
                  </a:solidFill>
                  <a:highlight>
                    <a:srgbClr val="FFFF00"/>
                  </a:highlight>
                </a:rPr>
                <a:t>auf Seite 9 erklärt.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7057AFD-0240-4D30-6FCF-F20FE190FCE1}"/>
              </a:ext>
            </a:extLst>
          </p:cNvPr>
          <p:cNvGrpSpPr/>
          <p:nvPr/>
        </p:nvGrpSpPr>
        <p:grpSpPr>
          <a:xfrm>
            <a:off x="6086998" y="4605208"/>
            <a:ext cx="5351195" cy="184666"/>
            <a:chOff x="5942966" y="4684494"/>
            <a:chExt cx="5351195" cy="184666"/>
          </a:xfrm>
        </p:grpSpPr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7B84A8DF-6115-D25E-F51C-EA2122EAE611}"/>
                </a:ext>
              </a:extLst>
            </p:cNvPr>
            <p:cNvSpPr/>
            <p:nvPr/>
          </p:nvSpPr>
          <p:spPr>
            <a:xfrm>
              <a:off x="5942966" y="4684494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94AF62B8-63F3-EE30-F696-5836DF6FDA27}"/>
                </a:ext>
              </a:extLst>
            </p:cNvPr>
            <p:cNvSpPr txBox="1"/>
            <p:nvPr/>
          </p:nvSpPr>
          <p:spPr>
            <a:xfrm>
              <a:off x="6234216" y="4684494"/>
              <a:ext cx="505994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Abstand zwischen Bullet Point und Text 0,75 cm</a:t>
              </a:r>
            </a:p>
          </p:txBody>
        </p:sp>
      </p:grpSp>
      <p:sp>
        <p:nvSpPr>
          <p:cNvPr id="37" name="Rechteck 36">
            <a:extLst>
              <a:ext uri="{FF2B5EF4-FFF2-40B4-BE49-F238E27FC236}">
                <a16:creationId xmlns:a16="http://schemas.microsoft.com/office/drawing/2014/main" id="{68A21833-B78F-B677-7220-D1EA67F4462F}"/>
              </a:ext>
            </a:extLst>
          </p:cNvPr>
          <p:cNvSpPr/>
          <p:nvPr/>
        </p:nvSpPr>
        <p:spPr>
          <a:xfrm>
            <a:off x="5952000" y="2349000"/>
            <a:ext cx="5832013" cy="3924800"/>
          </a:xfrm>
          <a:prstGeom prst="rect">
            <a:avLst/>
          </a:prstGeom>
          <a:noFill/>
          <a:ln w="12700">
            <a:solidFill>
              <a:srgbClr val="FF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2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097B82C-3043-B34D-D226-C47A7C39D9F2}"/>
              </a:ext>
            </a:extLst>
          </p:cNvPr>
          <p:cNvGrpSpPr/>
          <p:nvPr/>
        </p:nvGrpSpPr>
        <p:grpSpPr>
          <a:xfrm>
            <a:off x="6086998" y="2493000"/>
            <a:ext cx="5351195" cy="369332"/>
            <a:chOff x="5942966" y="1534862"/>
            <a:chExt cx="5351195" cy="369332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403556B9-D788-E1A9-F647-4DB9892A6224}"/>
                </a:ext>
              </a:extLst>
            </p:cNvPr>
            <p:cNvSpPr/>
            <p:nvPr/>
          </p:nvSpPr>
          <p:spPr>
            <a:xfrm>
              <a:off x="5942966" y="153486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18B156E1-AAA5-6EF6-1AEC-654F48BD9871}"/>
                </a:ext>
              </a:extLst>
            </p:cNvPr>
            <p:cNvSpPr txBox="1"/>
            <p:nvPr/>
          </p:nvSpPr>
          <p:spPr>
            <a:xfrm>
              <a:off x="6234216" y="1534862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>
                  <a:solidFill>
                    <a:srgbClr val="FF00FF"/>
                  </a:solidFill>
                </a:rPr>
                <a:t>Standardposition des Logos auf jeder Folie in PowerPoint, </a:t>
              </a:r>
              <a:br>
                <a:rPr lang="de-DE" sz="1200">
                  <a:solidFill>
                    <a:srgbClr val="FF00FF"/>
                  </a:solidFill>
                </a:rPr>
              </a:br>
              <a:r>
                <a:rPr lang="de-DE" sz="1200">
                  <a:solidFill>
                    <a:srgbClr val="FF00FF"/>
                  </a:solidFill>
                </a:rPr>
                <a:t>ist im Master festgelegt.</a:t>
              </a:r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916CE4AF-10B6-ABEB-98CE-87126D9DECEC}"/>
              </a:ext>
            </a:extLst>
          </p:cNvPr>
          <p:cNvSpPr txBox="1"/>
          <p:nvPr/>
        </p:nvSpPr>
        <p:spPr bwMode="gray">
          <a:xfrm>
            <a:off x="407988" y="6273800"/>
            <a:ext cx="11376025" cy="179536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pPr algn="r"/>
            <a:r>
              <a:rPr lang="de-DE" sz="1000" spc="10">
                <a:solidFill>
                  <a:srgbClr val="322A26"/>
                </a:solidFill>
                <a:cs typeface="EnBW DIN Pro"/>
              </a:rPr>
              <a:t>Quelle: 10 </a:t>
            </a:r>
            <a:r>
              <a:rPr lang="de-DE" sz="1000" spc="10" err="1">
                <a:solidFill>
                  <a:srgbClr val="322A26"/>
                </a:solidFill>
                <a:cs typeface="EnBW DIN Pro"/>
              </a:rPr>
              <a:t>pt</a:t>
            </a:r>
            <a:r>
              <a:rPr lang="de-DE" sz="1000" spc="10">
                <a:solidFill>
                  <a:srgbClr val="322A26"/>
                </a:solidFill>
                <a:cs typeface="EnBW DIN Pro"/>
              </a:rPr>
              <a:t> (in der Fußzeile können Quellen oder weitere Informationen untergebracht werden.)</a:t>
            </a: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7F0A70AB-F6F4-5799-42F7-524D0853214A}"/>
              </a:ext>
            </a:extLst>
          </p:cNvPr>
          <p:cNvSpPr/>
          <p:nvPr/>
        </p:nvSpPr>
        <p:spPr>
          <a:xfrm>
            <a:off x="10632504" y="6129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>
                <a:solidFill>
                  <a:schemeClr val="bg1"/>
                </a:solidFill>
                <a:latin typeface="+mj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75320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rafik 50">
            <a:extLst>
              <a:ext uri="{FF2B5EF4-FFF2-40B4-BE49-F238E27FC236}">
                <a16:creationId xmlns:a16="http://schemas.microsoft.com/office/drawing/2014/main" id="{42E9A0F0-63C3-5A45-2798-748ACCAE88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1845000"/>
            <a:ext cx="11376025" cy="3708635"/>
          </a:xfrm>
          <a:prstGeom prst="rect">
            <a:avLst/>
          </a:prstGeo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322A26"/>
                </a:solidFill>
              </a:rPr>
              <a:t>Lineal und Raster</a:t>
            </a:r>
            <a:endParaRPr lang="de-DE">
              <a:solidFill>
                <a:srgbClr val="322A26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5</a:t>
            </a:fld>
            <a:endParaRPr lang="de-DE" noProof="0"/>
          </a:p>
        </p:txBody>
      </p:sp>
      <p:sp>
        <p:nvSpPr>
          <p:cNvPr id="13" name="Foliennummernplatzhalter 10">
            <a:extLst>
              <a:ext uri="{FF2B5EF4-FFF2-40B4-BE49-F238E27FC236}">
                <a16:creationId xmlns:a16="http://schemas.microsoft.com/office/drawing/2014/main" id="{3B41A35E-14B1-9327-2333-A3C15E29742C}"/>
              </a:ext>
            </a:extLst>
          </p:cNvPr>
          <p:cNvSpPr txBox="1">
            <a:spLocks/>
          </p:cNvSpPr>
          <p:nvPr/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1FCF6D-0389-4320-9D89-9A0C90B37087}" type="slidenum">
              <a:rPr lang="de-DE" smtClean="0"/>
              <a:pPr/>
              <a:t>5</a:t>
            </a:fld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A619923-EDDB-154A-3F4F-480DDDD7BD7F}"/>
              </a:ext>
            </a:extLst>
          </p:cNvPr>
          <p:cNvGrpSpPr/>
          <p:nvPr/>
        </p:nvGrpSpPr>
        <p:grpSpPr>
          <a:xfrm>
            <a:off x="1128000" y="3212999"/>
            <a:ext cx="9719999" cy="2952000"/>
            <a:chOff x="1409786" y="3103893"/>
            <a:chExt cx="9149098" cy="2778616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89ECF96-35E9-2678-1FAC-2D3A6D0A78EC}"/>
                </a:ext>
              </a:extLst>
            </p:cNvPr>
            <p:cNvSpPr/>
            <p:nvPr/>
          </p:nvSpPr>
          <p:spPr>
            <a:xfrm>
              <a:off x="1409786" y="3103893"/>
              <a:ext cx="2236446" cy="1084338"/>
            </a:xfrm>
            <a:prstGeom prst="rect">
              <a:avLst/>
            </a:prstGeom>
            <a:solidFill>
              <a:srgbClr val="00B0F0"/>
            </a:solidFill>
          </p:spPr>
          <p:txBody>
            <a:bodyPr lIns="108000" tIns="72000" rIns="108000" bIns="7200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de-DE" sz="1000">
                  <a:solidFill>
                    <a:schemeClr val="bg1"/>
                  </a:solidFill>
                  <a:latin typeface="+mj-lt"/>
                </a:rPr>
                <a:t>Lineal</a:t>
              </a:r>
              <a:br>
                <a:rPr lang="de-DE" sz="1000">
                  <a:solidFill>
                    <a:schemeClr val="bg1"/>
                  </a:solidFill>
                  <a:latin typeface="+mj-lt"/>
                </a:rPr>
              </a:br>
              <a:r>
                <a:rPr lang="de-DE" sz="1000">
                  <a:solidFill>
                    <a:schemeClr val="bg1"/>
                  </a:solidFill>
                </a:rPr>
                <a:t>wichtig für spätere Bearbeitung</a:t>
              </a:r>
              <a:br>
                <a:rPr lang="de-DE" sz="1000">
                  <a:solidFill>
                    <a:schemeClr val="bg1"/>
                  </a:solidFill>
                </a:rPr>
              </a:br>
              <a:r>
                <a:rPr lang="de-DE" sz="1000">
                  <a:solidFill>
                    <a:schemeClr val="bg1"/>
                  </a:solidFill>
                </a:rPr>
                <a:t>von Texten mit Tabulatoren</a:t>
              </a:r>
            </a:p>
            <a:p>
              <a:pPr marL="0" lvl="2">
                <a:spcAft>
                  <a:spcPts val="600"/>
                </a:spcAft>
                <a:buClr>
                  <a:schemeClr val="bg1"/>
                </a:buClr>
              </a:pPr>
              <a:r>
                <a:rPr lang="de-DE" sz="1000" b="1">
                  <a:solidFill>
                    <a:schemeClr val="bg1"/>
                  </a:solidFill>
                </a:rPr>
                <a:t>Rechte Maustaste:</a:t>
              </a:r>
              <a:br>
                <a:rPr lang="de-DE" sz="1000" b="1">
                  <a:solidFill>
                    <a:schemeClr val="bg1"/>
                  </a:solidFill>
                </a:rPr>
              </a:br>
              <a:r>
                <a:rPr lang="de-DE" sz="1000">
                  <a:solidFill>
                    <a:schemeClr val="bg1"/>
                  </a:solidFill>
                </a:rPr>
                <a:t>Lineal anklicken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A895CCE5-916D-B0DB-9A9C-23FEA505403A}"/>
                </a:ext>
              </a:extLst>
            </p:cNvPr>
            <p:cNvSpPr/>
            <p:nvPr/>
          </p:nvSpPr>
          <p:spPr>
            <a:xfrm>
              <a:off x="8119124" y="5272569"/>
              <a:ext cx="2439760" cy="609940"/>
            </a:xfrm>
            <a:prstGeom prst="rect">
              <a:avLst/>
            </a:prstGeom>
            <a:solidFill>
              <a:srgbClr val="00B0F0"/>
            </a:solidFill>
          </p:spPr>
          <p:txBody>
            <a:bodyPr lIns="72000" tIns="36000" rIns="72000" bIns="36000" anchor="ctr" anchorCtr="0">
              <a:noAutofit/>
            </a:bodyPr>
            <a:lstStyle/>
            <a:p>
              <a:pPr>
                <a:spcAft>
                  <a:spcPts val="181"/>
                </a:spcAft>
              </a:pPr>
              <a:r>
                <a:rPr lang="de-DE" sz="1000">
                  <a:solidFill>
                    <a:schemeClr val="bg1"/>
                  </a:solidFill>
                  <a:latin typeface="+mj-lt"/>
                </a:rPr>
                <a:t>Führungslinien</a:t>
              </a:r>
            </a:p>
            <a:p>
              <a:pPr marL="180000" lvl="2" indent="-180000">
                <a:spcAft>
                  <a:spcPts val="200"/>
                </a:spcAft>
                <a:buClr>
                  <a:schemeClr val="bg1"/>
                </a:buClr>
                <a:buFont typeface="Georgia" panose="02040502050405020303" pitchFamily="18" charset="0"/>
                <a:buChar char="●"/>
              </a:pPr>
              <a:r>
                <a:rPr lang="de-DE" sz="1000">
                  <a:solidFill>
                    <a:schemeClr val="bg1"/>
                  </a:solidFill>
                </a:rPr>
                <a:t>erleichtert das Arbeiten mit Objekten</a:t>
              </a:r>
            </a:p>
            <a:p>
              <a:pPr marL="180000" lvl="2" indent="-180000">
                <a:spcAft>
                  <a:spcPts val="200"/>
                </a:spcAft>
                <a:buClr>
                  <a:schemeClr val="bg1"/>
                </a:buClr>
                <a:buFont typeface="Georgia" panose="02040502050405020303" pitchFamily="18" charset="0"/>
                <a:buChar char="●"/>
              </a:pPr>
              <a:r>
                <a:rPr lang="de-DE" sz="1000">
                  <a:solidFill>
                    <a:schemeClr val="bg1"/>
                  </a:solidFill>
                </a:rPr>
                <a:t>sauberes Arbeiten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15099E9-7981-FC69-A160-ECA1BCEB665B}"/>
              </a:ext>
            </a:extLst>
          </p:cNvPr>
          <p:cNvGrpSpPr/>
          <p:nvPr/>
        </p:nvGrpSpPr>
        <p:grpSpPr>
          <a:xfrm>
            <a:off x="3719736" y="3140969"/>
            <a:ext cx="3015376" cy="1743020"/>
            <a:chOff x="5807968" y="2245789"/>
            <a:chExt cx="2641661" cy="1526996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6336730D-CC73-22DA-34F4-CDABFCC645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7968" y="2245789"/>
              <a:ext cx="1152128" cy="1392762"/>
            </a:xfrm>
            <a:prstGeom prst="rect">
              <a:avLst/>
            </a:prstGeom>
            <a:noFill/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107A9CA-2A0A-0461-0DC3-0DD5ACD8EC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96100" y="2960948"/>
              <a:ext cx="1453529" cy="811837"/>
            </a:xfrm>
            <a:prstGeom prst="rect">
              <a:avLst/>
            </a:prstGeom>
            <a:noFill/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3" name="Rechteck 42">
            <a:extLst>
              <a:ext uri="{FF2B5EF4-FFF2-40B4-BE49-F238E27FC236}">
                <a16:creationId xmlns:a16="http://schemas.microsoft.com/office/drawing/2014/main" id="{2967CDBD-51FA-D923-A52E-7AC77B84A25E}"/>
              </a:ext>
            </a:extLst>
          </p:cNvPr>
          <p:cNvSpPr/>
          <p:nvPr/>
        </p:nvSpPr>
        <p:spPr>
          <a:xfrm>
            <a:off x="3719736" y="4149080"/>
            <a:ext cx="685906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err="1">
              <a:solidFill>
                <a:schemeClr val="tx1"/>
              </a:solidFill>
            </a:endParaRPr>
          </a:p>
        </p:txBody>
      </p:sp>
      <p:cxnSp>
        <p:nvCxnSpPr>
          <p:cNvPr id="44" name="Verbinder: gewinkelt 43">
            <a:extLst>
              <a:ext uri="{FF2B5EF4-FFF2-40B4-BE49-F238E27FC236}">
                <a16:creationId xmlns:a16="http://schemas.microsoft.com/office/drawing/2014/main" id="{383AD4D2-B65F-9B37-7B26-246E7F1C7E89}"/>
              </a:ext>
            </a:extLst>
          </p:cNvPr>
          <p:cNvCxnSpPr>
            <a:cxnSpLocks/>
            <a:stCxn id="6" idx="2"/>
            <a:endCxn id="43" idx="1"/>
          </p:cNvCxnSpPr>
          <p:nvPr/>
        </p:nvCxnSpPr>
        <p:spPr>
          <a:xfrm rot="5400000" flipH="1" flipV="1">
            <a:off x="2954913" y="3600177"/>
            <a:ext cx="125909" cy="1403736"/>
          </a:xfrm>
          <a:prstGeom prst="bentConnector4">
            <a:avLst>
              <a:gd name="adj1" fmla="val -181560"/>
              <a:gd name="adj2" fmla="val 92316"/>
            </a:avLst>
          </a:prstGeom>
          <a:ln w="9525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A7E81FF7-6F6A-7EA6-8012-EC4843C58343}"/>
              </a:ext>
            </a:extLst>
          </p:cNvPr>
          <p:cNvSpPr/>
          <p:nvPr/>
        </p:nvSpPr>
        <p:spPr>
          <a:xfrm>
            <a:off x="5087888" y="4329100"/>
            <a:ext cx="180020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err="1">
              <a:solidFill>
                <a:schemeClr val="tx1"/>
              </a:solidFill>
            </a:endParaRPr>
          </a:p>
        </p:txBody>
      </p: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5C6CF337-BBFB-4F9F-91B3-04E1C595C109}"/>
              </a:ext>
            </a:extLst>
          </p:cNvPr>
          <p:cNvCxnSpPr>
            <a:cxnSpLocks/>
            <a:stCxn id="8" idx="1"/>
            <a:endCxn id="45" idx="2"/>
          </p:cNvCxnSpPr>
          <p:nvPr/>
        </p:nvCxnSpPr>
        <p:spPr>
          <a:xfrm rot="10800000">
            <a:off x="5177898" y="4509120"/>
            <a:ext cx="3078102" cy="1331880"/>
          </a:xfrm>
          <a:prstGeom prst="bentConnector2">
            <a:avLst/>
          </a:prstGeom>
          <a:ln w="9525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fik 46">
            <a:extLst>
              <a:ext uri="{FF2B5EF4-FFF2-40B4-BE49-F238E27FC236}">
                <a16:creationId xmlns:a16="http://schemas.microsoft.com/office/drawing/2014/main" id="{708BD3F6-57E3-741D-F7BA-96D5AB6B98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6000" y="3069000"/>
            <a:ext cx="3667125" cy="231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7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28E08FA3-4C9C-6303-1827-9B92ED154281}"/>
              </a:ext>
            </a:extLst>
          </p:cNvPr>
          <p:cNvSpPr/>
          <p:nvPr/>
        </p:nvSpPr>
        <p:spPr bwMode="gray">
          <a:xfrm>
            <a:off x="407988" y="1881188"/>
            <a:ext cx="11376025" cy="439261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7" tIns="32659" rIns="65317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buClr>
                <a:schemeClr val="bg2"/>
              </a:buClr>
            </a:pPr>
            <a:endParaRPr lang="de-DE" sz="1452">
              <a:solidFill>
                <a:schemeClr val="accent2"/>
              </a:solidFill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322A26"/>
                </a:solidFill>
              </a:rPr>
              <a:t>Layouts und </a:t>
            </a:r>
            <a:r>
              <a:rPr lang="en-US" err="1">
                <a:solidFill>
                  <a:srgbClr val="322A26"/>
                </a:solidFill>
              </a:rPr>
              <a:t>Führungslinien</a:t>
            </a:r>
            <a:endParaRPr lang="de-DE">
              <a:solidFill>
                <a:srgbClr val="322A26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6</a:t>
            </a:fld>
            <a:endParaRPr lang="de-DE" noProof="0"/>
          </a:p>
        </p:txBody>
      </p:sp>
      <p:sp>
        <p:nvSpPr>
          <p:cNvPr id="13" name="Foliennummernplatzhalter 10">
            <a:extLst>
              <a:ext uri="{FF2B5EF4-FFF2-40B4-BE49-F238E27FC236}">
                <a16:creationId xmlns:a16="http://schemas.microsoft.com/office/drawing/2014/main" id="{3B41A35E-14B1-9327-2333-A3C15E29742C}"/>
              </a:ext>
            </a:extLst>
          </p:cNvPr>
          <p:cNvSpPr txBox="1">
            <a:spLocks/>
          </p:cNvSpPr>
          <p:nvPr/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1FCF6D-0389-4320-9D89-9A0C90B37087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7E81FF7-6F6A-7EA6-8012-EC4843C58343}"/>
              </a:ext>
            </a:extLst>
          </p:cNvPr>
          <p:cNvSpPr/>
          <p:nvPr/>
        </p:nvSpPr>
        <p:spPr>
          <a:xfrm>
            <a:off x="5087888" y="4329100"/>
            <a:ext cx="180020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err="1">
              <a:solidFill>
                <a:schemeClr val="tx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89A125A-0AA0-9A62-A8D4-9C4D4195C1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000" y="2019590"/>
            <a:ext cx="5101997" cy="4115807"/>
          </a:xfrm>
          <a:prstGeom prst="rect">
            <a:avLst/>
          </a:prstGeom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B181D014-FC53-F76B-5488-712A3797B04E}"/>
              </a:ext>
            </a:extLst>
          </p:cNvPr>
          <p:cNvSpPr txBox="1">
            <a:spLocks/>
          </p:cNvSpPr>
          <p:nvPr/>
        </p:nvSpPr>
        <p:spPr bwMode="gray">
          <a:xfrm>
            <a:off x="9840000" y="5877000"/>
            <a:ext cx="1831198" cy="349702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err="1">
                <a:solidFill>
                  <a:schemeClr val="accent1">
                    <a:lumMod val="90000"/>
                  </a:schemeClr>
                </a:solidFill>
              </a:rPr>
              <a:t>Contentbereich</a:t>
            </a:r>
            <a:endParaRPr lang="de-DE">
              <a:solidFill>
                <a:schemeClr val="accent1">
                  <a:lumMod val="90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B88073C-624C-F2D5-5A4F-5FC2CBAF1A42}"/>
              </a:ext>
            </a:extLst>
          </p:cNvPr>
          <p:cNvSpPr/>
          <p:nvPr/>
        </p:nvSpPr>
        <p:spPr>
          <a:xfrm>
            <a:off x="8400000" y="1701000"/>
            <a:ext cx="2032141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000">
                <a:solidFill>
                  <a:srgbClr val="FFC000"/>
                </a:solidFill>
              </a:rPr>
              <a:t>Führungslinie für Textplatzhalte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DC701F5-BE0C-753E-9B4F-906554F7B47E}"/>
              </a:ext>
            </a:extLst>
          </p:cNvPr>
          <p:cNvSpPr/>
          <p:nvPr/>
        </p:nvSpPr>
        <p:spPr>
          <a:xfrm>
            <a:off x="8916168" y="1932742"/>
            <a:ext cx="1515973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000">
                <a:solidFill>
                  <a:schemeClr val="accent4"/>
                </a:solidFill>
              </a:rPr>
              <a:t>Führungslinie für Bilder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474D4E5-EC45-19A2-B936-78DC87AF7A6D}"/>
              </a:ext>
            </a:extLst>
          </p:cNvPr>
          <p:cNvSpPr txBox="1"/>
          <p:nvPr/>
        </p:nvSpPr>
        <p:spPr>
          <a:xfrm>
            <a:off x="5880000" y="2019590"/>
            <a:ext cx="1810749" cy="158684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b="1">
                <a:latin typeface="+mn-lt"/>
              </a:rPr>
              <a:t>Bitte nutze nur</a:t>
            </a:r>
            <a:br>
              <a:rPr lang="de-DE" b="1">
                <a:latin typeface="+mn-lt"/>
              </a:rPr>
            </a:br>
            <a:r>
              <a:rPr lang="de-DE" b="1">
                <a:latin typeface="+mn-lt"/>
              </a:rPr>
              <a:t>die angelegten Layouts</a:t>
            </a:r>
            <a:br>
              <a:rPr lang="de-DE" b="1">
                <a:latin typeface="+mn-lt"/>
              </a:rPr>
            </a:br>
            <a:r>
              <a:rPr lang="de-DE" b="1">
                <a:latin typeface="+mn-lt"/>
              </a:rPr>
              <a:t>aus dem Master!</a:t>
            </a:r>
          </a:p>
          <a:p>
            <a:pPr marL="0" lvl="2" indent="0">
              <a:buNone/>
            </a:pPr>
            <a:r>
              <a:rPr lang="de-DE"/>
              <a:t>Wenn du merkst, dass</a:t>
            </a:r>
            <a:br>
              <a:rPr lang="de-DE"/>
            </a:br>
            <a:r>
              <a:rPr lang="de-DE"/>
              <a:t>sich die Folien verzogen</a:t>
            </a:r>
            <a:br>
              <a:rPr lang="de-DE"/>
            </a:br>
            <a:r>
              <a:rPr lang="de-DE"/>
              <a:t>hat oder Platzhalter verrutscht sind, klicke</a:t>
            </a:r>
            <a:br>
              <a:rPr lang="de-DE"/>
            </a:br>
            <a:r>
              <a:rPr lang="de-DE"/>
              <a:t>„Folie zurücksetzen“</a:t>
            </a:r>
            <a:br>
              <a:rPr lang="de-DE"/>
            </a:br>
            <a:r>
              <a:rPr lang="de-DE"/>
              <a:t>(rechte Maustaste).</a:t>
            </a:r>
          </a:p>
        </p:txBody>
      </p:sp>
    </p:spTree>
    <p:extLst>
      <p:ext uri="{BB962C8B-B14F-4D97-AF65-F5344CB8AC3E}">
        <p14:creationId xmlns:p14="http://schemas.microsoft.com/office/powerpoint/2010/main" val="3163379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322A26"/>
                </a:solidFill>
              </a:rPr>
              <a:t>Layouts und </a:t>
            </a:r>
            <a:r>
              <a:rPr lang="en-US" err="1">
                <a:solidFill>
                  <a:srgbClr val="322A26"/>
                </a:solidFill>
              </a:rPr>
              <a:t>Führungslinien</a:t>
            </a:r>
            <a:endParaRPr lang="de-DE">
              <a:solidFill>
                <a:srgbClr val="322A26"/>
              </a:solidFill>
            </a:endParaRP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7</a:t>
            </a:fld>
            <a:endParaRPr lang="de-DE" noProof="0"/>
          </a:p>
        </p:txBody>
      </p:sp>
      <p:sp>
        <p:nvSpPr>
          <p:cNvPr id="13" name="Foliennummernplatzhalter 10">
            <a:extLst>
              <a:ext uri="{FF2B5EF4-FFF2-40B4-BE49-F238E27FC236}">
                <a16:creationId xmlns:a16="http://schemas.microsoft.com/office/drawing/2014/main" id="{3B41A35E-14B1-9327-2333-A3C15E29742C}"/>
              </a:ext>
            </a:extLst>
          </p:cNvPr>
          <p:cNvSpPr txBox="1">
            <a:spLocks/>
          </p:cNvSpPr>
          <p:nvPr/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21FCF6D-0389-4320-9D89-9A0C90B37087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7E81FF7-6F6A-7EA6-8012-EC4843C58343}"/>
              </a:ext>
            </a:extLst>
          </p:cNvPr>
          <p:cNvSpPr/>
          <p:nvPr/>
        </p:nvSpPr>
        <p:spPr>
          <a:xfrm>
            <a:off x="5087888" y="4329100"/>
            <a:ext cx="180020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err="1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83C675-FA8E-E113-664D-78A8C1CDD51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1845000"/>
            <a:ext cx="11376025" cy="3708635"/>
          </a:xfrm>
          <a:prstGeom prst="rect">
            <a:avLst/>
          </a:prstGeom>
        </p:spPr>
      </p:pic>
      <p:sp>
        <p:nvSpPr>
          <p:cNvPr id="5" name="Inhaltsplatzhalter 16">
            <a:extLst>
              <a:ext uri="{FF2B5EF4-FFF2-40B4-BE49-F238E27FC236}">
                <a16:creationId xmlns:a16="http://schemas.microsoft.com/office/drawing/2014/main" id="{5CCCA01F-F8A5-6B85-A63B-FBE74B126E57}"/>
              </a:ext>
            </a:extLst>
          </p:cNvPr>
          <p:cNvSpPr txBox="1">
            <a:spLocks/>
          </p:cNvSpPr>
          <p:nvPr/>
        </p:nvSpPr>
        <p:spPr>
          <a:xfrm>
            <a:off x="8904000" y="1090692"/>
            <a:ext cx="2344935" cy="1508615"/>
          </a:xfrm>
          <a:prstGeom prst="rect">
            <a:avLst/>
          </a:prstGeom>
          <a:solidFill>
            <a:srgbClr val="00B0F0"/>
          </a:solidFill>
          <a:ln w="28575">
            <a:noFill/>
          </a:ln>
          <a:effectLst/>
        </p:spPr>
        <p:txBody>
          <a:bodyPr lIns="108000" tIns="72000" rIns="108000" bIns="7200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  <a:ea typeface="+mn-ea"/>
              </a:rPr>
              <a:t>Wichtig: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>
                <a:solidFill>
                  <a:schemeClr val="bg1"/>
                </a:solidFill>
              </a:rPr>
              <a:t>Schalte das Lineal ein!</a:t>
            </a:r>
          </a:p>
          <a:p>
            <a:r>
              <a:rPr lang="de-DE" sz="1000" b="0">
                <a:solidFill>
                  <a:schemeClr val="bg1"/>
                </a:solidFill>
              </a:rPr>
              <a:t>Einzüge und Tabstopps helfen beim</a:t>
            </a:r>
            <a:br>
              <a:rPr lang="de-DE" sz="1000" b="0">
                <a:solidFill>
                  <a:schemeClr val="bg1"/>
                </a:solidFill>
              </a:rPr>
            </a:br>
            <a:r>
              <a:rPr lang="de-DE" sz="1000" b="0">
                <a:solidFill>
                  <a:schemeClr val="bg1"/>
                </a:solidFill>
              </a:rPr>
              <a:t>Ausrichten von Texten auf einer Foli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DBA36E7-CEAD-EBBF-C247-C46B495F40AD}"/>
              </a:ext>
            </a:extLst>
          </p:cNvPr>
          <p:cNvGrpSpPr/>
          <p:nvPr/>
        </p:nvGrpSpPr>
        <p:grpSpPr>
          <a:xfrm>
            <a:off x="9018732" y="1971126"/>
            <a:ext cx="195951" cy="195951"/>
            <a:chOff x="403084" y="2791366"/>
            <a:chExt cx="576064" cy="576064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C6F71A90-DE9E-4D02-325A-66932941CF96}"/>
                </a:ext>
              </a:extLst>
            </p:cNvPr>
            <p:cNvSpPr/>
            <p:nvPr/>
          </p:nvSpPr>
          <p:spPr>
            <a:xfrm>
              <a:off x="403084" y="2791366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633"/>
            </a:p>
          </p:txBody>
        </p:sp>
        <p:sp>
          <p:nvSpPr>
            <p:cNvPr id="27" name="Rechteck 18">
              <a:extLst>
                <a:ext uri="{FF2B5EF4-FFF2-40B4-BE49-F238E27FC236}">
                  <a16:creationId xmlns:a16="http://schemas.microsoft.com/office/drawing/2014/main" id="{5E39AD1E-A01D-C19E-69C4-0F4D555645E6}"/>
                </a:ext>
              </a:extLst>
            </p:cNvPr>
            <p:cNvSpPr/>
            <p:nvPr/>
          </p:nvSpPr>
          <p:spPr>
            <a:xfrm>
              <a:off x="547100" y="2935382"/>
              <a:ext cx="288032" cy="288032"/>
            </a:xfrm>
            <a:custGeom>
              <a:avLst/>
              <a:gdLst>
                <a:gd name="connsiteX0" fmla="*/ 0 w 504056"/>
                <a:gd name="connsiteY0" fmla="*/ 0 h 504056"/>
                <a:gd name="connsiteX1" fmla="*/ 504056 w 504056"/>
                <a:gd name="connsiteY1" fmla="*/ 0 h 504056"/>
                <a:gd name="connsiteX2" fmla="*/ 504056 w 504056"/>
                <a:gd name="connsiteY2" fmla="*/ 504056 h 504056"/>
                <a:gd name="connsiteX3" fmla="*/ 0 w 504056"/>
                <a:gd name="connsiteY3" fmla="*/ 504056 h 504056"/>
                <a:gd name="connsiteX4" fmla="*/ 0 w 504056"/>
                <a:gd name="connsiteY4" fmla="*/ 0 h 504056"/>
                <a:gd name="connsiteX0" fmla="*/ 504056 w 595496"/>
                <a:gd name="connsiteY0" fmla="*/ 0 h 504056"/>
                <a:gd name="connsiteX1" fmla="*/ 504056 w 595496"/>
                <a:gd name="connsiteY1" fmla="*/ 504056 h 504056"/>
                <a:gd name="connsiteX2" fmla="*/ 0 w 595496"/>
                <a:gd name="connsiteY2" fmla="*/ 504056 h 504056"/>
                <a:gd name="connsiteX3" fmla="*/ 0 w 595496"/>
                <a:gd name="connsiteY3" fmla="*/ 0 h 504056"/>
                <a:gd name="connsiteX4" fmla="*/ 595496 w 595496"/>
                <a:gd name="connsiteY4" fmla="*/ 91440 h 504056"/>
                <a:gd name="connsiteX0" fmla="*/ 504056 w 504056"/>
                <a:gd name="connsiteY0" fmla="*/ 0 h 504056"/>
                <a:gd name="connsiteX1" fmla="*/ 504056 w 504056"/>
                <a:gd name="connsiteY1" fmla="*/ 504056 h 504056"/>
                <a:gd name="connsiteX2" fmla="*/ 0 w 504056"/>
                <a:gd name="connsiteY2" fmla="*/ 504056 h 504056"/>
                <a:gd name="connsiteX3" fmla="*/ 0 w 504056"/>
                <a:gd name="connsiteY3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0 w 504056"/>
                <a:gd name="connsiteY2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504056">
                  <a:moveTo>
                    <a:pt x="504056" y="504056"/>
                  </a:moveTo>
                  <a:lnTo>
                    <a:pt x="0" y="50405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633"/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F34351FE-DF71-05AB-68D7-2A58F1BDA573}"/>
              </a:ext>
            </a:extLst>
          </p:cNvPr>
          <p:cNvGrpSpPr/>
          <p:nvPr/>
        </p:nvGrpSpPr>
        <p:grpSpPr>
          <a:xfrm>
            <a:off x="9018507" y="2297725"/>
            <a:ext cx="195951" cy="195951"/>
            <a:chOff x="2123728" y="2888940"/>
            <a:chExt cx="576064" cy="576064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C45072DA-E6C2-DF93-9142-1B3011F99D4F}"/>
                </a:ext>
              </a:extLst>
            </p:cNvPr>
            <p:cNvSpPr/>
            <p:nvPr/>
          </p:nvSpPr>
          <p:spPr>
            <a:xfrm>
              <a:off x="2123728" y="2888940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633"/>
            </a:p>
          </p:txBody>
        </p:sp>
        <p:cxnSp>
          <p:nvCxnSpPr>
            <p:cNvPr id="23" name="Gerade Verbindung 54">
              <a:extLst>
                <a:ext uri="{FF2B5EF4-FFF2-40B4-BE49-F238E27FC236}">
                  <a16:creationId xmlns:a16="http://schemas.microsoft.com/office/drawing/2014/main" id="{523D0051-B1F9-3A7D-7967-F420993D2508}"/>
                </a:ext>
              </a:extLst>
            </p:cNvPr>
            <p:cNvCxnSpPr/>
            <p:nvPr/>
          </p:nvCxnSpPr>
          <p:spPr>
            <a:xfrm>
              <a:off x="2219739" y="3320988"/>
              <a:ext cx="38404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:a16="http://schemas.microsoft.com/office/drawing/2014/main" id="{754AA767-56F3-27B9-2C8B-4B22A402EA3C}"/>
                </a:ext>
              </a:extLst>
            </p:cNvPr>
            <p:cNvCxnSpPr/>
            <p:nvPr/>
          </p:nvCxnSpPr>
          <p:spPr>
            <a:xfrm>
              <a:off x="2411760" y="3032956"/>
              <a:ext cx="0" cy="288032"/>
            </a:xfrm>
            <a:prstGeom prst="lin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E0EED676-1519-E54D-F98B-CAE4E867EF3B}"/>
              </a:ext>
            </a:extLst>
          </p:cNvPr>
          <p:cNvSpPr/>
          <p:nvPr/>
        </p:nvSpPr>
        <p:spPr>
          <a:xfrm>
            <a:off x="9280255" y="1955734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7">
                <a:solidFill>
                  <a:schemeClr val="bg1"/>
                </a:solidFill>
              </a:rPr>
              <a:t>Ausrichtung</a:t>
            </a:r>
          </a:p>
          <a:p>
            <a:r>
              <a:rPr lang="de-DE" sz="907">
                <a:solidFill>
                  <a:schemeClr val="bg1"/>
                </a:solidFill>
              </a:rPr>
              <a:t>links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B074DEE-EF1C-8449-2023-F34315AA1C3E}"/>
              </a:ext>
            </a:extLst>
          </p:cNvPr>
          <p:cNvGrpSpPr/>
          <p:nvPr/>
        </p:nvGrpSpPr>
        <p:grpSpPr>
          <a:xfrm>
            <a:off x="9966160" y="1971126"/>
            <a:ext cx="195951" cy="195951"/>
            <a:chOff x="1259632" y="2791366"/>
            <a:chExt cx="576064" cy="576064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35383F0-164D-E12B-330B-FF1080CAC08F}"/>
                </a:ext>
              </a:extLst>
            </p:cNvPr>
            <p:cNvSpPr/>
            <p:nvPr/>
          </p:nvSpPr>
          <p:spPr>
            <a:xfrm>
              <a:off x="1259632" y="2791366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633"/>
            </a:p>
          </p:txBody>
        </p:sp>
        <p:sp>
          <p:nvSpPr>
            <p:cNvPr id="20" name="Rechteck 18">
              <a:extLst>
                <a:ext uri="{FF2B5EF4-FFF2-40B4-BE49-F238E27FC236}">
                  <a16:creationId xmlns:a16="http://schemas.microsoft.com/office/drawing/2014/main" id="{049DA402-CDFB-ECD9-41B5-7C4682659BB4}"/>
                </a:ext>
              </a:extLst>
            </p:cNvPr>
            <p:cNvSpPr/>
            <p:nvPr/>
          </p:nvSpPr>
          <p:spPr>
            <a:xfrm flipH="1">
              <a:off x="1403648" y="2935382"/>
              <a:ext cx="288032" cy="288032"/>
            </a:xfrm>
            <a:custGeom>
              <a:avLst/>
              <a:gdLst>
                <a:gd name="connsiteX0" fmla="*/ 0 w 504056"/>
                <a:gd name="connsiteY0" fmla="*/ 0 h 504056"/>
                <a:gd name="connsiteX1" fmla="*/ 504056 w 504056"/>
                <a:gd name="connsiteY1" fmla="*/ 0 h 504056"/>
                <a:gd name="connsiteX2" fmla="*/ 504056 w 504056"/>
                <a:gd name="connsiteY2" fmla="*/ 504056 h 504056"/>
                <a:gd name="connsiteX3" fmla="*/ 0 w 504056"/>
                <a:gd name="connsiteY3" fmla="*/ 504056 h 504056"/>
                <a:gd name="connsiteX4" fmla="*/ 0 w 504056"/>
                <a:gd name="connsiteY4" fmla="*/ 0 h 504056"/>
                <a:gd name="connsiteX0" fmla="*/ 504056 w 595496"/>
                <a:gd name="connsiteY0" fmla="*/ 0 h 504056"/>
                <a:gd name="connsiteX1" fmla="*/ 504056 w 595496"/>
                <a:gd name="connsiteY1" fmla="*/ 504056 h 504056"/>
                <a:gd name="connsiteX2" fmla="*/ 0 w 595496"/>
                <a:gd name="connsiteY2" fmla="*/ 504056 h 504056"/>
                <a:gd name="connsiteX3" fmla="*/ 0 w 595496"/>
                <a:gd name="connsiteY3" fmla="*/ 0 h 504056"/>
                <a:gd name="connsiteX4" fmla="*/ 595496 w 595496"/>
                <a:gd name="connsiteY4" fmla="*/ 91440 h 504056"/>
                <a:gd name="connsiteX0" fmla="*/ 504056 w 504056"/>
                <a:gd name="connsiteY0" fmla="*/ 0 h 504056"/>
                <a:gd name="connsiteX1" fmla="*/ 504056 w 504056"/>
                <a:gd name="connsiteY1" fmla="*/ 504056 h 504056"/>
                <a:gd name="connsiteX2" fmla="*/ 0 w 504056"/>
                <a:gd name="connsiteY2" fmla="*/ 504056 h 504056"/>
                <a:gd name="connsiteX3" fmla="*/ 0 w 504056"/>
                <a:gd name="connsiteY3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0 w 504056"/>
                <a:gd name="connsiteY2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504056">
                  <a:moveTo>
                    <a:pt x="504056" y="504056"/>
                  </a:moveTo>
                  <a:lnTo>
                    <a:pt x="0" y="50405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1633"/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2AD38F1E-7910-6EDC-0052-F73C9CBAD0E5}"/>
              </a:ext>
            </a:extLst>
          </p:cNvPr>
          <p:cNvSpPr/>
          <p:nvPr/>
        </p:nvSpPr>
        <p:spPr>
          <a:xfrm>
            <a:off x="9280030" y="2282333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7">
                <a:solidFill>
                  <a:schemeClr val="bg1"/>
                </a:solidFill>
              </a:rPr>
              <a:t>Ausrichtung</a:t>
            </a:r>
          </a:p>
          <a:p>
            <a:r>
              <a:rPr lang="de-DE" sz="907">
                <a:solidFill>
                  <a:schemeClr val="bg1"/>
                </a:solidFill>
              </a:rPr>
              <a:t>mitti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4BA108E-C4C0-93E1-0BFD-36108A3B35C7}"/>
              </a:ext>
            </a:extLst>
          </p:cNvPr>
          <p:cNvSpPr/>
          <p:nvPr/>
        </p:nvSpPr>
        <p:spPr>
          <a:xfrm>
            <a:off x="10227683" y="1955734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7">
                <a:solidFill>
                  <a:schemeClr val="bg1"/>
                </a:solidFill>
              </a:rPr>
              <a:t>Ausrichtung</a:t>
            </a:r>
          </a:p>
          <a:p>
            <a:r>
              <a:rPr lang="de-DE" sz="907">
                <a:solidFill>
                  <a:schemeClr val="bg1"/>
                </a:solidFill>
              </a:rPr>
              <a:t>rechts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721B5CB-824B-8BC7-0230-CE3C02BAE64A}"/>
              </a:ext>
            </a:extLst>
          </p:cNvPr>
          <p:cNvSpPr/>
          <p:nvPr/>
        </p:nvSpPr>
        <p:spPr>
          <a:xfrm>
            <a:off x="3504000" y="4528189"/>
            <a:ext cx="4423097" cy="1690810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1"/>
              </a:spcAft>
            </a:pPr>
            <a:r>
              <a:rPr lang="de-DE" sz="1000" err="1">
                <a:solidFill>
                  <a:schemeClr val="bg1"/>
                </a:solidFill>
                <a:latin typeface="+mj-lt"/>
              </a:rPr>
              <a:t>Ebenensprünge</a:t>
            </a:r>
            <a:endParaRPr lang="de-DE" sz="1000">
              <a:solidFill>
                <a:schemeClr val="bg1"/>
              </a:solidFill>
              <a:latin typeface="+mj-lt"/>
            </a:endParaRP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r>
              <a:rPr lang="de-DE" sz="1000">
                <a:solidFill>
                  <a:schemeClr val="bg1"/>
                </a:solidFill>
              </a:rPr>
              <a:t>Die Textebenen werden mit dem Befehl Listenebene erhöhen und Listenebene verringern zugewiesen. </a:t>
            </a:r>
            <a:r>
              <a:rPr lang="de-DE" sz="1000" b="1">
                <a:solidFill>
                  <a:schemeClr val="bg1"/>
                </a:solidFill>
              </a:rPr>
              <a:t>Registerkarte:</a:t>
            </a:r>
            <a:r>
              <a:rPr lang="de-DE" sz="1000">
                <a:solidFill>
                  <a:schemeClr val="bg1"/>
                </a:solidFill>
              </a:rPr>
              <a:t> Start </a:t>
            </a:r>
            <a:br>
              <a:rPr lang="de-DE" sz="1000">
                <a:solidFill>
                  <a:schemeClr val="bg1"/>
                </a:solidFill>
              </a:rPr>
            </a:br>
            <a:r>
              <a:rPr lang="de-DE" sz="1000" b="1">
                <a:solidFill>
                  <a:schemeClr val="bg1"/>
                </a:solidFill>
              </a:rPr>
              <a:t>Bereich:</a:t>
            </a:r>
            <a:r>
              <a:rPr lang="de-DE" sz="1000">
                <a:solidFill>
                  <a:schemeClr val="bg1"/>
                </a:solidFill>
              </a:rPr>
              <a:t> Absatz</a:t>
            </a: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endParaRPr lang="de-DE" sz="1000">
              <a:solidFill>
                <a:schemeClr val="bg1"/>
              </a:solidFill>
            </a:endParaRP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endParaRPr lang="de-DE" sz="1000">
              <a:solidFill>
                <a:schemeClr val="bg1"/>
              </a:solidFill>
            </a:endParaRPr>
          </a:p>
          <a:p>
            <a:pPr marL="0" lvl="2">
              <a:spcAft>
                <a:spcPts val="181"/>
              </a:spcAft>
              <a:buClr>
                <a:schemeClr val="bg1"/>
              </a:buClr>
            </a:pPr>
            <a:r>
              <a:rPr lang="de-DE" sz="907">
                <a:solidFill>
                  <a:schemeClr val="bg1"/>
                </a:solidFill>
              </a:rPr>
              <a:t>Alternativ sind folgende Tastenkombinationen definiert:</a:t>
            </a: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tabLst>
                <a:tab pos="1382573" algn="l"/>
              </a:tabLst>
            </a:pPr>
            <a:r>
              <a:rPr lang="de-DE" sz="1000">
                <a:solidFill>
                  <a:schemeClr val="bg1"/>
                </a:solidFill>
              </a:rPr>
              <a:t>Listenebene erhöhen:	</a:t>
            </a:r>
            <a:r>
              <a:rPr lang="de-DE" sz="1000" err="1">
                <a:solidFill>
                  <a:schemeClr val="bg1"/>
                </a:solidFill>
              </a:rPr>
              <a:t>Alt+Shift+Pfeiltaste</a:t>
            </a:r>
            <a:r>
              <a:rPr lang="de-DE" sz="1000">
                <a:solidFill>
                  <a:schemeClr val="bg1"/>
                </a:solidFill>
              </a:rPr>
              <a:t> rechts</a:t>
            </a: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tabLst>
                <a:tab pos="1382573" algn="l"/>
              </a:tabLst>
            </a:pPr>
            <a:r>
              <a:rPr lang="de-DE" sz="1000">
                <a:solidFill>
                  <a:schemeClr val="bg1"/>
                </a:solidFill>
              </a:rPr>
              <a:t>Listenebene verringern:	</a:t>
            </a:r>
            <a:r>
              <a:rPr lang="de-DE" sz="1000" err="1">
                <a:solidFill>
                  <a:schemeClr val="bg1"/>
                </a:solidFill>
              </a:rPr>
              <a:t>Alt+Shift+Pfeiltaste</a:t>
            </a:r>
            <a:r>
              <a:rPr lang="de-DE" sz="1000">
                <a:solidFill>
                  <a:schemeClr val="bg1"/>
                </a:solidFill>
              </a:rPr>
              <a:t> links</a:t>
            </a:r>
          </a:p>
          <a:p>
            <a:pPr marL="163296" lvl="2" indent="-163296">
              <a:spcAft>
                <a:spcPts val="181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de-DE" sz="907">
              <a:solidFill>
                <a:schemeClr val="bg1"/>
              </a:solidFill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2CC827DA-C6F2-6BDC-1A17-59111E352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35916" y="5138395"/>
            <a:ext cx="604128" cy="29618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956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Bearbeiten</a:t>
            </a:r>
            <a:r>
              <a:rPr lang="en-US"/>
              <a:t> von </a:t>
            </a:r>
            <a:r>
              <a:rPr lang="en-US" err="1"/>
              <a:t>Bildern</a:t>
            </a:r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8</a:t>
            </a:fld>
            <a:endParaRPr lang="de-DE" noProof="0"/>
          </a:p>
        </p:txBody>
      </p:sp>
      <p:pic>
        <p:nvPicPr>
          <p:cNvPr id="6" name="Bildplatzhalter 5" descr="Ein Bild, das draußen, Person enthält.&#10;&#10;Automatisch generierte Beschreibung">
            <a:extLst>
              <a:ext uri="{FF2B5EF4-FFF2-40B4-BE49-F238E27FC236}">
                <a16:creationId xmlns:a16="http://schemas.microsoft.com/office/drawing/2014/main" id="{91E3F10A-2B64-386D-2CC4-2ED5BB85A2D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1591162F-54E0-BEBA-92F8-FE20276BF883}"/>
              </a:ext>
            </a:extLst>
          </p:cNvPr>
          <p:cNvGrpSpPr/>
          <p:nvPr/>
        </p:nvGrpSpPr>
        <p:grpSpPr>
          <a:xfrm>
            <a:off x="326810" y="1785188"/>
            <a:ext cx="192000" cy="192000"/>
            <a:chOff x="4103948" y="1383618"/>
            <a:chExt cx="180020" cy="180020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C922A802-38C7-886C-AC31-AF40283B81F7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B937C3C8-19B3-7A04-2AD4-1B68E7DC77C6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0AA85C3-476D-1E75-BF8D-5C5A95C4C1DB}"/>
              </a:ext>
            </a:extLst>
          </p:cNvPr>
          <p:cNvGrpSpPr/>
          <p:nvPr/>
        </p:nvGrpSpPr>
        <p:grpSpPr>
          <a:xfrm>
            <a:off x="318833" y="6168610"/>
            <a:ext cx="192000" cy="192000"/>
            <a:chOff x="4103948" y="1383618"/>
            <a:chExt cx="180020" cy="180020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3BC5C86A-7266-6F76-DC5A-9B3F7FD0AD66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8061EEEC-7CA0-D7DF-4F38-49CEFA8A05E3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27D67D0-8D0B-D0B6-9006-2F6FDD0559AE}"/>
              </a:ext>
            </a:extLst>
          </p:cNvPr>
          <p:cNvGrpSpPr/>
          <p:nvPr/>
        </p:nvGrpSpPr>
        <p:grpSpPr>
          <a:xfrm>
            <a:off x="5709469" y="6177800"/>
            <a:ext cx="192000" cy="192000"/>
            <a:chOff x="4103948" y="1383618"/>
            <a:chExt cx="180020" cy="180020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9DA8DCBC-C908-67BE-5079-0AEE1911350F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68E01759-9EDD-CC21-21A4-859FD1C2C88A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sp>
        <p:nvSpPr>
          <p:cNvPr id="14" name="Textfeld 35">
            <a:extLst>
              <a:ext uri="{FF2B5EF4-FFF2-40B4-BE49-F238E27FC236}">
                <a16:creationId xmlns:a16="http://schemas.microsoft.com/office/drawing/2014/main" id="{19F81DC5-671D-1B39-6562-6C9BA676A6AA}"/>
              </a:ext>
            </a:extLst>
          </p:cNvPr>
          <p:cNvSpPr txBox="1"/>
          <p:nvPr/>
        </p:nvSpPr>
        <p:spPr>
          <a:xfrm>
            <a:off x="8576620" y="4833156"/>
            <a:ext cx="1810749" cy="612700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  <a:latin typeface="+mn-lt"/>
              </a:rPr>
              <a:t>Mit dem Button „Zuschneiden“ kannst du 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das Bild zuschneiden.</a:t>
            </a:r>
          </a:p>
        </p:txBody>
      </p:sp>
      <p:sp>
        <p:nvSpPr>
          <p:cNvPr id="15" name="Textfeld 36">
            <a:extLst>
              <a:ext uri="{FF2B5EF4-FFF2-40B4-BE49-F238E27FC236}">
                <a16:creationId xmlns:a16="http://schemas.microsoft.com/office/drawing/2014/main" id="{F7CB21C2-D266-8297-7729-1632847EF86B}"/>
              </a:ext>
            </a:extLst>
          </p:cNvPr>
          <p:cNvSpPr txBox="1"/>
          <p:nvPr/>
        </p:nvSpPr>
        <p:spPr>
          <a:xfrm>
            <a:off x="6128348" y="1881188"/>
            <a:ext cx="2628985" cy="648072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  <a:latin typeface="+mn-lt"/>
              </a:rPr>
              <a:t>Bitte ziehe das eingefügte Bild nur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an den Eckpunkten mit gedrückter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Shift-Taste in die entsprechende Größe.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BBA4D7D-5CCB-5F1E-11B8-5DFAD64D3F33}"/>
              </a:ext>
            </a:extLst>
          </p:cNvPr>
          <p:cNvGrpSpPr/>
          <p:nvPr/>
        </p:nvGrpSpPr>
        <p:grpSpPr>
          <a:xfrm>
            <a:off x="5712663" y="1785188"/>
            <a:ext cx="192000" cy="192000"/>
            <a:chOff x="4103948" y="1383618"/>
            <a:chExt cx="180020" cy="180020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F6083914-DCC8-71BC-469C-071B2D90D7A5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A534412F-A5E1-2480-8853-D504F299D1F5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B5F86C15-42DB-A9B5-717C-2FE75F1FCE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737" y="4029075"/>
            <a:ext cx="11196624" cy="731104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hteck 13">
            <a:extLst>
              <a:ext uri="{FF2B5EF4-FFF2-40B4-BE49-F238E27FC236}">
                <a16:creationId xmlns:a16="http://schemas.microsoft.com/office/drawing/2014/main" id="{14A5EDC8-70D1-92DD-8143-A56603CD9FC2}"/>
              </a:ext>
            </a:extLst>
          </p:cNvPr>
          <p:cNvSpPr/>
          <p:nvPr/>
        </p:nvSpPr>
        <p:spPr>
          <a:xfrm rot="5400000" flipH="1">
            <a:off x="10416004" y="4721965"/>
            <a:ext cx="192021" cy="270388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err="1"/>
          </a:p>
        </p:txBody>
      </p:sp>
      <p:sp>
        <p:nvSpPr>
          <p:cNvPr id="19" name="Textfeld 40">
            <a:extLst>
              <a:ext uri="{FF2B5EF4-FFF2-40B4-BE49-F238E27FC236}">
                <a16:creationId xmlns:a16="http://schemas.microsoft.com/office/drawing/2014/main" id="{78A87B25-8041-245A-C384-39AD686A59DA}"/>
              </a:ext>
            </a:extLst>
          </p:cNvPr>
          <p:cNvSpPr txBox="1"/>
          <p:nvPr/>
        </p:nvSpPr>
        <p:spPr>
          <a:xfrm>
            <a:off x="3248027" y="4833156"/>
            <a:ext cx="2592983" cy="75608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  <a:latin typeface="+mn-lt"/>
              </a:rPr>
              <a:t>Solltest du das Gefühl haben, dass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sich das Bild verzogen hat, klicke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den Button „Grafik zurücksetzen“. </a:t>
            </a:r>
            <a:br>
              <a:rPr lang="de-DE" sz="1000">
                <a:solidFill>
                  <a:schemeClr val="bg1"/>
                </a:solidFill>
                <a:latin typeface="+mn-lt"/>
              </a:rPr>
            </a:br>
            <a:r>
              <a:rPr lang="de-DE" sz="1000">
                <a:solidFill>
                  <a:schemeClr val="bg1"/>
                </a:solidFill>
                <a:latin typeface="+mn-lt"/>
              </a:rPr>
              <a:t>(Registerkarte: Bildformat).</a:t>
            </a:r>
          </a:p>
        </p:txBody>
      </p:sp>
      <p:sp>
        <p:nvSpPr>
          <p:cNvPr id="20" name="Rechteck 13">
            <a:extLst>
              <a:ext uri="{FF2B5EF4-FFF2-40B4-BE49-F238E27FC236}">
                <a16:creationId xmlns:a16="http://schemas.microsoft.com/office/drawing/2014/main" id="{6DB54A04-2756-C1C7-99EF-6E35CB7B5EFE}"/>
              </a:ext>
            </a:extLst>
          </p:cNvPr>
          <p:cNvSpPr/>
          <p:nvPr/>
        </p:nvSpPr>
        <p:spPr>
          <a:xfrm rot="16200000">
            <a:off x="2833982" y="4527121"/>
            <a:ext cx="288032" cy="540059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err="1"/>
          </a:p>
        </p:txBody>
      </p:sp>
      <p:sp>
        <p:nvSpPr>
          <p:cNvPr id="31" name="Textfeld 40">
            <a:extLst>
              <a:ext uri="{FF2B5EF4-FFF2-40B4-BE49-F238E27FC236}">
                <a16:creationId xmlns:a16="http://schemas.microsoft.com/office/drawing/2014/main" id="{26D5980C-BD5E-FA72-1E09-8702882416BA}"/>
              </a:ext>
            </a:extLst>
          </p:cNvPr>
          <p:cNvSpPr txBox="1"/>
          <p:nvPr/>
        </p:nvSpPr>
        <p:spPr>
          <a:xfrm>
            <a:off x="1176854" y="1556234"/>
            <a:ext cx="2592983" cy="78029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>
                <a:solidFill>
                  <a:schemeClr val="bg1"/>
                </a:solidFill>
              </a:rPr>
              <a:t>Um ein neues Bild einzufügen klicke das </a:t>
            </a:r>
            <a:r>
              <a:rPr lang="de-DE" sz="100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Bild/Platzhalter an, danach auf löschen – nun kannst du das Bild in den Platzhalter ziehen oder über das Icon einfügen. </a:t>
            </a:r>
            <a:endParaRPr lang="de-DE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71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gma – Design Guide</a:t>
            </a:r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tze BW Guideline für PowerPoint | April 2023</a:t>
            </a:r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9</a:t>
            </a:fld>
            <a:endParaRPr lang="de-DE" noProof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23DCB8D-A932-394F-8490-5673974578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987" y="1124855"/>
            <a:ext cx="6167177" cy="338137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777105BE-0647-1F10-17F3-0A9A736D6B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8000" y="2994827"/>
            <a:ext cx="6767999" cy="3381375"/>
          </a:xfrm>
          <a:prstGeom prst="rect">
            <a:avLst/>
          </a:prstGeom>
        </p:spPr>
      </p:pic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13ECE6DD-8E81-3B2D-B9FF-F8DA1966D668}"/>
              </a:ext>
            </a:extLst>
          </p:cNvPr>
          <p:cNvSpPr txBox="1">
            <a:spLocks/>
          </p:cNvSpPr>
          <p:nvPr/>
        </p:nvSpPr>
        <p:spPr>
          <a:xfrm>
            <a:off x="7265987" y="1280730"/>
            <a:ext cx="4515440" cy="13562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/>
              <a:t>Solltest du einmal Fragen zur Bildsprache, Farben oder anderen Designelementen haben, im </a:t>
            </a:r>
            <a:r>
              <a:rPr lang="de-DE" err="1"/>
              <a:t>Figma</a:t>
            </a:r>
            <a:r>
              <a:rPr lang="de-DE"/>
              <a:t> findest du fast alle Antworten. Bitte sende deine Zugangsanfrage an                       </a:t>
            </a:r>
            <a:r>
              <a:rPr lang="de-DE" b="1"/>
              <a:t>cd-check@netze-bw.de</a:t>
            </a:r>
            <a:r>
              <a:rPr lang="de-DE"/>
              <a:t>.</a:t>
            </a:r>
            <a:endParaRPr lang="de-DE" b="1"/>
          </a:p>
        </p:txBody>
      </p:sp>
      <p:pic>
        <p:nvPicPr>
          <p:cNvPr id="35" name="Grafik 34">
            <a:hlinkClick r:id="rId4"/>
            <a:extLst>
              <a:ext uri="{FF2B5EF4-FFF2-40B4-BE49-F238E27FC236}">
                <a16:creationId xmlns:a16="http://schemas.microsoft.com/office/drawing/2014/main" id="{2A3C17E5-7294-97AC-DA1A-6CE936B75B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59463" y="2637000"/>
            <a:ext cx="1781175" cy="18288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126751C4-08A5-AAE7-0841-2478432549A6}"/>
              </a:ext>
            </a:extLst>
          </p:cNvPr>
          <p:cNvSpPr txBox="1"/>
          <p:nvPr/>
        </p:nvSpPr>
        <p:spPr>
          <a:xfrm>
            <a:off x="9984000" y="3141000"/>
            <a:ext cx="15158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Link zum</a:t>
            </a:r>
          </a:p>
          <a:p>
            <a:pPr algn="ctr"/>
            <a:r>
              <a:rPr lang="de-DE" sz="2800" dirty="0" err="1">
                <a:solidFill>
                  <a:schemeClr val="bg1"/>
                </a:solidFill>
                <a:latin typeface="+mj-lt"/>
              </a:rPr>
              <a:t>Figma</a:t>
            </a:r>
            <a:endParaRPr lang="de-DE" sz="2800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Klicke hier!</a:t>
            </a:r>
          </a:p>
        </p:txBody>
      </p:sp>
    </p:spTree>
    <p:extLst>
      <p:ext uri="{BB962C8B-B14F-4D97-AF65-F5344CB8AC3E}">
        <p14:creationId xmlns:p14="http://schemas.microsoft.com/office/powerpoint/2010/main" val="31974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heme/theme1.xml><?xml version="1.0" encoding="utf-8"?>
<a:theme xmlns:a="http://schemas.openxmlformats.org/drawingml/2006/main" name="Master Netze BW 2023">
  <a:themeElements>
    <a:clrScheme name="Netze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06032022_Master_EnBW.potx" id="{394A1590-115C-4BED-BDA5-FCCD9D521D28}" vid="{0AF84CAB-E34E-43A1-999B-294B25203625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4EE51E3C992947B914B1847F74DDF2" ma:contentTypeVersion="16" ma:contentTypeDescription="Create a new document." ma:contentTypeScope="" ma:versionID="003275d051b381d89db2582bc59027d8">
  <xsd:schema xmlns:xsd="http://www.w3.org/2001/XMLSchema" xmlns:xs="http://www.w3.org/2001/XMLSchema" xmlns:p="http://schemas.microsoft.com/office/2006/metadata/properties" xmlns:ns2="acbe3f49-9d46-442b-bd91-f8d738a9d233" xmlns:ns3="67aa796f-66a1-4674-ac9d-f847a528ea7e" targetNamespace="http://schemas.microsoft.com/office/2006/metadata/properties" ma:root="true" ma:fieldsID="dc2c160c25a1614d7298f0bf1eff9115" ns2:_="" ns3:_="">
    <xsd:import namespace="acbe3f49-9d46-442b-bd91-f8d738a9d233"/>
    <xsd:import namespace="67aa796f-66a1-4674-ac9d-f847a528ea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be3f49-9d46-442b-bd91-f8d738a9d2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a796f-66a1-4674-ac9d-f847a528ea7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0a5a12a-2161-4769-8bd3-594f023355c0}" ma:internalName="TaxCatchAll" ma:showField="CatchAllData" ma:web="67aa796f-66a1-4674-ac9d-f847a528ea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7aa796f-66a1-4674-ac9d-f847a528ea7e" xsi:nil="true"/>
    <lcf76f155ced4ddcb4097134ff3c332f xmlns="acbe3f49-9d46-442b-bd91-f8d738a9d23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6ECEF4-65CD-4975-8AD4-D401BCDD06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be3f49-9d46-442b-bd91-f8d738a9d233"/>
    <ds:schemaRef ds:uri="67aa796f-66a1-4674-ac9d-f847a528ea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0165E9F-071E-4DE6-8F36-38BA3B9AB14D}">
  <ds:schemaRefs>
    <ds:schemaRef ds:uri="67aa796f-66a1-4674-ac9d-f847a528ea7e"/>
    <ds:schemaRef ds:uri="acbe3f49-9d46-442b-bd91-f8d738a9d233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30D140B-7B6E-4148-A39F-11575C3F5C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042022_Master_EnBW</Template>
  <TotalTime>0</TotalTime>
  <Words>792</Words>
  <Application>Microsoft Office PowerPoint</Application>
  <PresentationFormat>Breitbild</PresentationFormat>
  <Paragraphs>129</Paragraphs>
  <Slides>10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8" baseType="lpstr">
      <vt:lpstr>Arial</vt:lpstr>
      <vt:lpstr>Calibri</vt:lpstr>
      <vt:lpstr>EnBW DIN Pro</vt:lpstr>
      <vt:lpstr>Georgia</vt:lpstr>
      <vt:lpstr>Mark OT Medium</vt:lpstr>
      <vt:lpstr>Wingdings</vt:lpstr>
      <vt:lpstr>Wingdings 2</vt:lpstr>
      <vt:lpstr>Master Netze BW 2023</vt:lpstr>
      <vt:lpstr>„How-to-use“ Guideline für PowerPoint</vt:lpstr>
      <vt:lpstr>Farben</vt:lpstr>
      <vt:lpstr>Wichtige Grundeinstellungen</vt:lpstr>
      <vt:lpstr>Grunddesign</vt:lpstr>
      <vt:lpstr>Lineal und Raster</vt:lpstr>
      <vt:lpstr>Layouts und Führungslinien</vt:lpstr>
      <vt:lpstr>Layouts und Führungslinien</vt:lpstr>
      <vt:lpstr>Bearbeiten von Bildern</vt:lpstr>
      <vt:lpstr>Figma – Design Guide</vt:lpstr>
      <vt:lpstr>Zum Schlu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Folienbibliothek</dc:title>
  <dc:creator>Josefine Adams</dc:creator>
  <cp:lastModifiedBy>Conrad Lisa</cp:lastModifiedBy>
  <cp:revision>2</cp:revision>
  <dcterms:created xsi:type="dcterms:W3CDTF">2022-02-03T12:23:30Z</dcterms:created>
  <dcterms:modified xsi:type="dcterms:W3CDTF">2023-04-21T08:1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4EE51E3C992947B914B1847F74DDF2</vt:lpwstr>
  </property>
  <property fmtid="{D5CDD505-2E9C-101B-9397-08002B2CF9AE}" pid="3" name="MediaServiceImageTags">
    <vt:lpwstr/>
  </property>
</Properties>
</file>